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xml" ContentType="application/vnd.openxmlformats-officedocument.drawingml.chart+xml"/>
  <Override PartName="/ppt/charts/chart1560.xml" ContentType="application/vnd.openxmlformats-officedocument.drawingml.chart+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charts/chart1609.xml" ContentType="application/vnd.openxmlformats-officedocument.drawingml.chart+xml"/>
  <Override PartName="/ppt/charts/chart161.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xml" ContentType="application/vnd.openxmlformats-officedocument.drawingml.chart+xml"/>
  <Override PartName="/ppt/charts/chart1620.xml" ContentType="application/vnd.openxmlformats-officedocument.drawingml.chart+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charts/chart1669.xml" ContentType="application/vnd.openxmlformats-officedocument.drawingml.chart+xml"/>
  <Override PartName="/ppt/charts/chart167.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xml" ContentType="application/vnd.openxmlformats-officedocument.drawingml.chart+xml"/>
  <Override PartName="/ppt/charts/chart1680.xml" ContentType="application/vnd.openxmlformats-officedocument.drawingml.chart+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charts/chart1729.xml" ContentType="application/vnd.openxmlformats-officedocument.drawingml.chart+xml"/>
  <Override PartName="/ppt/charts/chart173.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xml" ContentType="application/vnd.openxmlformats-officedocument.drawingml.chart+xml"/>
  <Override PartName="/ppt/charts/chart1740.xml" ContentType="application/vnd.openxmlformats-officedocument.drawingml.chart+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charts/chart1789.xml" ContentType="application/vnd.openxmlformats-officedocument.drawingml.chart+xml"/>
  <Override PartName="/ppt/charts/chart17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00.xml" ContentType="application/vnd.openxmlformats-officedocument.drawingml.chart+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charts/chart1849.xml" ContentType="application/vnd.openxmlformats-officedocument.drawingml.chart+xml"/>
  <Override PartName="/ppt/charts/chart185.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xml" ContentType="application/vnd.openxmlformats-officedocument.drawingml.chart+xml"/>
  <Override PartName="/ppt/charts/chart1860.xml" ContentType="application/vnd.openxmlformats-officedocument.drawingml.chart+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charts/chart1909.xml" ContentType="application/vnd.openxmlformats-officedocument.drawingml.chart+xml"/>
  <Override PartName="/ppt/charts/chart191.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xml" ContentType="application/vnd.openxmlformats-officedocument.drawingml.chart+xml"/>
  <Override PartName="/ppt/charts/chart1920.xml" ContentType="application/vnd.openxmlformats-officedocument.drawingml.chart+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charts/chart1945.xml" ContentType="application/vnd.openxmlformats-officedocument.drawingml.chart+xml"/>
  <Override PartName="/ppt/charts/chart1946.xml" ContentType="application/vnd.openxmlformats-officedocument.drawingml.chart+xml"/>
  <Override PartName="/ppt/charts/chart1947.xml" ContentType="application/vnd.openxmlformats-officedocument.drawingml.chart+xml"/>
  <Override PartName="/ppt/charts/chart1948.xml" ContentType="application/vnd.openxmlformats-officedocument.drawingml.chart+xml"/>
  <Override PartName="/ppt/charts/chart1949.xml" ContentType="application/vnd.openxmlformats-officedocument.drawingml.chart+xml"/>
  <Override PartName="/ppt/charts/chart195.xml" ContentType="application/vnd.openxmlformats-officedocument.drawingml.chart+xml"/>
  <Override PartName="/ppt/charts/chart1950.xml" ContentType="application/vnd.openxmlformats-officedocument.drawingml.chart+xml"/>
  <Override PartName="/ppt/charts/chart1951.xml" ContentType="application/vnd.openxmlformats-officedocument.drawingml.chart+xml"/>
  <Override PartName="/ppt/charts/chart1952.xml" ContentType="application/vnd.openxmlformats-officedocument.drawingml.chart+xml"/>
  <Override PartName="/ppt/charts/chart1953.xml" ContentType="application/vnd.openxmlformats-officedocument.drawingml.chart+xml"/>
  <Override PartName="/ppt/charts/chart1954.xml" ContentType="application/vnd.openxmlformats-officedocument.drawingml.chart+xml"/>
  <Override PartName="/ppt/charts/chart1955.xml" ContentType="application/vnd.openxmlformats-officedocument.drawingml.chart+xml"/>
  <Override PartName="/ppt/charts/chart1956.xml" ContentType="application/vnd.openxmlformats-officedocument.drawingml.chart+xml"/>
  <Override PartName="/ppt/charts/chart1957.xml" ContentType="application/vnd.openxmlformats-officedocument.drawingml.chart+xml"/>
  <Override PartName="/ppt/charts/chart1958.xml" ContentType="application/vnd.openxmlformats-officedocument.drawingml.chart+xml"/>
  <Override PartName="/ppt/charts/chart1959.xml" ContentType="application/vnd.openxmlformats-officedocument.drawingml.chart+xml"/>
  <Override PartName="/ppt/charts/chart196.xml" ContentType="application/vnd.openxmlformats-officedocument.drawingml.chart+xml"/>
  <Override PartName="/ppt/charts/chart1960.xml" ContentType="application/vnd.openxmlformats-officedocument.drawingml.chart+xml"/>
  <Override PartName="/ppt/charts/chart1961.xml" ContentType="application/vnd.openxmlformats-officedocument.drawingml.chart+xml"/>
  <Override PartName="/ppt/charts/chart1962.xml" ContentType="application/vnd.openxmlformats-officedocument.drawingml.chart+xml"/>
  <Override PartName="/ppt/charts/chart1963.xml" ContentType="application/vnd.openxmlformats-officedocument.drawingml.chart+xml"/>
  <Override PartName="/ppt/charts/chart1964.xml" ContentType="application/vnd.openxmlformats-officedocument.drawingml.chart+xml"/>
  <Override PartName="/ppt/charts/chart1965.xml" ContentType="application/vnd.openxmlformats-officedocument.drawingml.chart+xml"/>
  <Override PartName="/ppt/charts/chart1966.xml" ContentType="application/vnd.openxmlformats-officedocument.drawingml.chart+xml"/>
  <Override PartName="/ppt/charts/chart1967.xml" ContentType="application/vnd.openxmlformats-officedocument.drawingml.chart+xml"/>
  <Override PartName="/ppt/charts/chart1968.xml" ContentType="application/vnd.openxmlformats-officedocument.drawingml.chart+xml"/>
  <Override PartName="/ppt/charts/chart1969.xml" ContentType="application/vnd.openxmlformats-officedocument.drawingml.chart+xml"/>
  <Override PartName="/ppt/charts/chart197.xml" ContentType="application/vnd.openxmlformats-officedocument.drawingml.chart+xml"/>
  <Override PartName="/ppt/charts/chart1970.xml" ContentType="application/vnd.openxmlformats-officedocument.drawingml.chart+xml"/>
  <Override PartName="/ppt/charts/chart1971.xml" ContentType="application/vnd.openxmlformats-officedocument.drawingml.chart+xml"/>
  <Override PartName="/ppt/charts/chart1972.xml" ContentType="application/vnd.openxmlformats-officedocument.drawingml.chart+xml"/>
  <Override PartName="/ppt/charts/chart1973.xml" ContentType="application/vnd.openxmlformats-officedocument.drawingml.chart+xml"/>
  <Override PartName="/ppt/charts/chart1974.xml" ContentType="application/vnd.openxmlformats-officedocument.drawingml.chart+xml"/>
  <Override PartName="/ppt/charts/chart1975.xml" ContentType="application/vnd.openxmlformats-officedocument.drawingml.chart+xml"/>
  <Override PartName="/ppt/charts/chart1976.xml" ContentType="application/vnd.openxmlformats-officedocument.drawingml.chart+xml"/>
  <Override PartName="/ppt/charts/chart1977.xml" ContentType="application/vnd.openxmlformats-officedocument.drawingml.chart+xml"/>
  <Override PartName="/ppt/charts/chart1978.xml" ContentType="application/vnd.openxmlformats-officedocument.drawingml.chart+xml"/>
  <Override PartName="/ppt/charts/chart1979.xml" ContentType="application/vnd.openxmlformats-officedocument.drawingml.chart+xml"/>
  <Override PartName="/ppt/charts/chart198.xml" ContentType="application/vnd.openxmlformats-officedocument.drawingml.chart+xml"/>
  <Override PartName="/ppt/charts/chart1980.xml" ContentType="application/vnd.openxmlformats-officedocument.drawingml.chart+xml"/>
  <Override PartName="/ppt/charts/chart1981.xml" ContentType="application/vnd.openxmlformats-officedocument.drawingml.chart+xml"/>
  <Override PartName="/ppt/charts/chart1982.xml" ContentType="application/vnd.openxmlformats-officedocument.drawingml.chart+xml"/>
  <Override PartName="/ppt/charts/chart1983.xml" ContentType="application/vnd.openxmlformats-officedocument.drawingml.chart+xml"/>
  <Override PartName="/ppt/charts/chart1984.xml" ContentType="application/vnd.openxmlformats-officedocument.drawingml.chart+xml"/>
  <Override PartName="/ppt/charts/chart1985.xml" ContentType="application/vnd.openxmlformats-officedocument.drawingml.chart+xml"/>
  <Override PartName="/ppt/charts/chart1986.xml" ContentType="application/vnd.openxmlformats-officedocument.drawingml.chart+xml"/>
  <Override PartName="/ppt/charts/chart1987.xml" ContentType="application/vnd.openxmlformats-officedocument.drawingml.chart+xml"/>
  <Override PartName="/ppt/charts/chart1988.xml" ContentType="application/vnd.openxmlformats-officedocument.drawingml.chart+xml"/>
  <Override PartName="/ppt/charts/chart1989.xml" ContentType="application/vnd.openxmlformats-officedocument.drawingml.chart+xml"/>
  <Override PartName="/ppt/charts/chart199.xml" ContentType="application/vnd.openxmlformats-officedocument.drawingml.chart+xml"/>
  <Override PartName="/ppt/charts/chart1990.xml" ContentType="application/vnd.openxmlformats-officedocument.drawingml.chart+xml"/>
  <Override PartName="/ppt/charts/chart1991.xml" ContentType="application/vnd.openxmlformats-officedocument.drawingml.chart+xml"/>
  <Override PartName="/ppt/charts/chart1992.xml" ContentType="application/vnd.openxmlformats-officedocument.drawingml.chart+xml"/>
  <Override PartName="/ppt/charts/chart1993.xml" ContentType="application/vnd.openxmlformats-officedocument.drawingml.chart+xml"/>
  <Override PartName="/ppt/charts/chart1994.xml" ContentType="application/vnd.openxmlformats-officedocument.drawingml.chart+xml"/>
  <Override PartName="/ppt/charts/chart1995.xml" ContentType="application/vnd.openxmlformats-officedocument.drawingml.chart+xml"/>
  <Override PartName="/ppt/charts/chart1996.xml" ContentType="application/vnd.openxmlformats-officedocument.drawingml.chart+xml"/>
  <Override PartName="/ppt/charts/chart1997.xml" ContentType="application/vnd.openxmlformats-officedocument.drawingml.chart+xml"/>
  <Override PartName="/ppt/charts/chart1998.xml" ContentType="application/vnd.openxmlformats-officedocument.drawingml.chart+xml"/>
  <Override PartName="/ppt/charts/chart19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00.xml" ContentType="application/vnd.openxmlformats-officedocument.drawingml.chart+xml"/>
  <Override PartName="/ppt/charts/chart2001.xml" ContentType="application/vnd.openxmlformats-officedocument.drawingml.chart+xml"/>
  <Override PartName="/ppt/charts/chart2002.xml" ContentType="application/vnd.openxmlformats-officedocument.drawingml.chart+xml"/>
  <Override PartName="/ppt/charts/chart2003.xml" ContentType="application/vnd.openxmlformats-officedocument.drawingml.chart+xml"/>
  <Override PartName="/ppt/charts/chart2004.xml" ContentType="application/vnd.openxmlformats-officedocument.drawingml.chart+xml"/>
  <Override PartName="/ppt/charts/chart2005.xml" ContentType="application/vnd.openxmlformats-officedocument.drawingml.chart+xml"/>
  <Override PartName="/ppt/charts/chart2006.xml" ContentType="application/vnd.openxmlformats-officedocument.drawingml.chart+xml"/>
  <Override PartName="/ppt/charts/chart2007.xml" ContentType="application/vnd.openxmlformats-officedocument.drawingml.chart+xml"/>
  <Override PartName="/ppt/charts/chart2008.xml" ContentType="application/vnd.openxmlformats-officedocument.drawingml.chart+xml"/>
  <Override PartName="/ppt/charts/chart2009.xml" ContentType="application/vnd.openxmlformats-officedocument.drawingml.chart+xml"/>
  <Override PartName="/ppt/charts/chart201.xml" ContentType="application/vnd.openxmlformats-officedocument.drawingml.chart+xml"/>
  <Override PartName="/ppt/charts/chart2010.xml" ContentType="application/vnd.openxmlformats-officedocument.drawingml.chart+xml"/>
  <Override PartName="/ppt/charts/chart2011.xml" ContentType="application/vnd.openxmlformats-officedocument.drawingml.chart+xml"/>
  <Override PartName="/ppt/charts/chart2012.xml" ContentType="application/vnd.openxmlformats-officedocument.drawingml.chart+xml"/>
  <Override PartName="/ppt/charts/chart2013.xml" ContentType="application/vnd.openxmlformats-officedocument.drawingml.chart+xml"/>
  <Override PartName="/ppt/charts/chart2014.xml" ContentType="application/vnd.openxmlformats-officedocument.drawingml.chart+xml"/>
  <Override PartName="/ppt/charts/chart2015.xml" ContentType="application/vnd.openxmlformats-officedocument.drawingml.chart+xml"/>
  <Override PartName="/ppt/charts/chart2016.xml" ContentType="application/vnd.openxmlformats-officedocument.drawingml.chart+xml"/>
  <Override PartName="/ppt/charts/chart2017.xml" ContentType="application/vnd.openxmlformats-officedocument.drawingml.chart+xml"/>
  <Override PartName="/ppt/charts/chart2018.xml" ContentType="application/vnd.openxmlformats-officedocument.drawingml.chart+xml"/>
  <Override PartName="/ppt/charts/chart2019.xml" ContentType="application/vnd.openxmlformats-officedocument.drawingml.chart+xml"/>
  <Override PartName="/ppt/charts/chart202.xml" ContentType="application/vnd.openxmlformats-officedocument.drawingml.chart+xml"/>
  <Override PartName="/ppt/charts/chart2020.xml" ContentType="application/vnd.openxmlformats-officedocument.drawingml.chart+xml"/>
  <Override PartName="/ppt/charts/chart2021.xml" ContentType="application/vnd.openxmlformats-officedocument.drawingml.chart+xml"/>
  <Override PartName="/ppt/charts/chart2022.xml" ContentType="application/vnd.openxmlformats-officedocument.drawingml.chart+xml"/>
  <Override PartName="/ppt/charts/chart2023.xml" ContentType="application/vnd.openxmlformats-officedocument.drawingml.chart+xml"/>
  <Override PartName="/ppt/charts/chart2024.xml" ContentType="application/vnd.openxmlformats-officedocument.drawingml.chart+xml"/>
  <Override PartName="/ppt/charts/chart2025.xml" ContentType="application/vnd.openxmlformats-officedocument.drawingml.chart+xml"/>
  <Override PartName="/ppt/charts/chart2026.xml" ContentType="application/vnd.openxmlformats-officedocument.drawingml.chart+xml"/>
  <Override PartName="/ppt/charts/chart2027.xml" ContentType="application/vnd.openxmlformats-officedocument.drawingml.chart+xml"/>
  <Override PartName="/ppt/charts/chart2028.xml" ContentType="application/vnd.openxmlformats-officedocument.drawingml.chart+xml"/>
  <Override PartName="/ppt/charts/chart2029.xml" ContentType="application/vnd.openxmlformats-officedocument.drawingml.chart+xml"/>
  <Override PartName="/ppt/charts/chart203.xml" ContentType="application/vnd.openxmlformats-officedocument.drawingml.chart+xml"/>
  <Override PartName="/ppt/charts/chart2030.xml" ContentType="application/vnd.openxmlformats-officedocument.drawingml.chart+xml"/>
  <Override PartName="/ppt/charts/chart2031.xml" ContentType="application/vnd.openxmlformats-officedocument.drawingml.chart+xml"/>
  <Override PartName="/ppt/charts/chart2032.xml" ContentType="application/vnd.openxmlformats-officedocument.drawingml.chart+xml"/>
  <Override PartName="/ppt/charts/chart2033.xml" ContentType="application/vnd.openxmlformats-officedocument.drawingml.chart+xml"/>
  <Override PartName="/ppt/charts/chart2034.xml" ContentType="application/vnd.openxmlformats-officedocument.drawingml.chart+xml"/>
  <Override PartName="/ppt/charts/chart2035.xml" ContentType="application/vnd.openxmlformats-officedocument.drawingml.chart+xml"/>
  <Override PartName="/ppt/charts/chart2036.xml" ContentType="application/vnd.openxmlformats-officedocument.drawingml.chart+xml"/>
  <Override PartName="/ppt/charts/chart2037.xml" ContentType="application/vnd.openxmlformats-officedocument.drawingml.chart+xml"/>
  <Override PartName="/ppt/charts/chart2038.xml" ContentType="application/vnd.openxmlformats-officedocument.drawingml.chart+xml"/>
  <Override PartName="/ppt/charts/chart2039.xml" ContentType="application/vnd.openxmlformats-officedocument.drawingml.chart+xml"/>
  <Override PartName="/ppt/charts/chart204.xml" ContentType="application/vnd.openxmlformats-officedocument.drawingml.chart+xml"/>
  <Override PartName="/ppt/charts/chart2040.xml" ContentType="application/vnd.openxmlformats-officedocument.drawingml.chart+xml"/>
  <Override PartName="/ppt/charts/chart2041.xml" ContentType="application/vnd.openxmlformats-officedocument.drawingml.chart+xml"/>
  <Override PartName="/ppt/charts/chart2042.xml" ContentType="application/vnd.openxmlformats-officedocument.drawingml.chart+xml"/>
  <Override PartName="/ppt/charts/chart2043.xml" ContentType="application/vnd.openxmlformats-officedocument.drawingml.chart+xml"/>
  <Override PartName="/ppt/charts/chart2044.xml" ContentType="application/vnd.openxmlformats-officedocument.drawingml.chart+xml"/>
  <Override PartName="/ppt/charts/chart2045.xml" ContentType="application/vnd.openxmlformats-officedocument.drawingml.chart+xml"/>
  <Override PartName="/ppt/charts/chart2046.xml" ContentType="application/vnd.openxmlformats-officedocument.drawingml.chart+xml"/>
  <Override PartName="/ppt/charts/chart2047.xml" ContentType="application/vnd.openxmlformats-officedocument.drawingml.chart+xml"/>
  <Override PartName="/ppt/charts/chart2048.xml" ContentType="application/vnd.openxmlformats-officedocument.drawingml.chart+xml"/>
  <Override PartName="/ppt/charts/chart2049.xml" ContentType="application/vnd.openxmlformats-officedocument.drawingml.chart+xml"/>
  <Override PartName="/ppt/charts/chart205.xml" ContentType="application/vnd.openxmlformats-officedocument.drawingml.chart+xml"/>
  <Override PartName="/ppt/charts/chart2050.xml" ContentType="application/vnd.openxmlformats-officedocument.drawingml.chart+xml"/>
  <Override PartName="/ppt/charts/chart2051.xml" ContentType="application/vnd.openxmlformats-officedocument.drawingml.chart+xml"/>
  <Override PartName="/ppt/charts/chart2052.xml" ContentType="application/vnd.openxmlformats-officedocument.drawingml.chart+xml"/>
  <Override PartName="/ppt/charts/chart2053.xml" ContentType="application/vnd.openxmlformats-officedocument.drawingml.chart+xml"/>
  <Override PartName="/ppt/charts/chart2054.xml" ContentType="application/vnd.openxmlformats-officedocument.drawingml.chart+xml"/>
  <Override PartName="/ppt/charts/chart2055.xml" ContentType="application/vnd.openxmlformats-officedocument.drawingml.chart+xml"/>
  <Override PartName="/ppt/charts/chart2056.xml" ContentType="application/vnd.openxmlformats-officedocument.drawingml.chart+xml"/>
  <Override PartName="/ppt/charts/chart2057.xml" ContentType="application/vnd.openxmlformats-officedocument.drawingml.chart+xml"/>
  <Override PartName="/ppt/charts/chart2058.xml" ContentType="application/vnd.openxmlformats-officedocument.drawingml.chart+xml"/>
  <Override PartName="/ppt/charts/chart2059.xml" ContentType="application/vnd.openxmlformats-officedocument.drawingml.chart+xml"/>
  <Override PartName="/ppt/charts/chart206.xml" ContentType="application/vnd.openxmlformats-officedocument.drawingml.chart+xml"/>
  <Override PartName="/ppt/charts/chart2060.xml" ContentType="application/vnd.openxmlformats-officedocument.drawingml.chart+xml"/>
  <Override PartName="/ppt/charts/chart2061.xml" ContentType="application/vnd.openxmlformats-officedocument.drawingml.chart+xml"/>
  <Override PartName="/ppt/charts/chart2062.xml" ContentType="application/vnd.openxmlformats-officedocument.drawingml.chart+xml"/>
  <Override PartName="/ppt/charts/chart2063.xml" ContentType="application/vnd.openxmlformats-officedocument.drawingml.chart+xml"/>
  <Override PartName="/ppt/charts/chart2064.xml" ContentType="application/vnd.openxmlformats-officedocument.drawingml.chart+xml"/>
  <Override PartName="/ppt/charts/chart2065.xml" ContentType="application/vnd.openxmlformats-officedocument.drawingml.chart+xml"/>
  <Override PartName="/ppt/charts/chart2066.xml" ContentType="application/vnd.openxmlformats-officedocument.drawingml.chart+xml"/>
  <Override PartName="/ppt/charts/chart2067.xml" ContentType="application/vnd.openxmlformats-officedocument.drawingml.chart+xml"/>
  <Override PartName="/ppt/charts/chart2068.xml" ContentType="application/vnd.openxmlformats-officedocument.drawingml.chart+xml"/>
  <Override PartName="/ppt/charts/chart2069.xml" ContentType="application/vnd.openxmlformats-officedocument.drawingml.chart+xml"/>
  <Override PartName="/ppt/charts/chart207.xml" ContentType="application/vnd.openxmlformats-officedocument.drawingml.chart+xml"/>
  <Override PartName="/ppt/charts/chart2070.xml" ContentType="application/vnd.openxmlformats-officedocument.drawingml.chart+xml"/>
  <Override PartName="/ppt/charts/chart2071.xml" ContentType="application/vnd.openxmlformats-officedocument.drawingml.chart+xml"/>
  <Override PartName="/ppt/charts/chart2072.xml" ContentType="application/vnd.openxmlformats-officedocument.drawingml.chart+xml"/>
  <Override PartName="/ppt/charts/chart2073.xml" ContentType="application/vnd.openxmlformats-officedocument.drawingml.chart+xml"/>
  <Override PartName="/ppt/charts/chart2074.xml" ContentType="application/vnd.openxmlformats-officedocument.drawingml.chart+xml"/>
  <Override PartName="/ppt/charts/chart2075.xml" ContentType="application/vnd.openxmlformats-officedocument.drawingml.chart+xml"/>
  <Override PartName="/ppt/charts/chart2076.xml" ContentType="application/vnd.openxmlformats-officedocument.drawingml.chart+xml"/>
  <Override PartName="/ppt/charts/chart2077.xml" ContentType="application/vnd.openxmlformats-officedocument.drawingml.chart+xml"/>
  <Override PartName="/ppt/charts/chart2078.xml" ContentType="application/vnd.openxmlformats-officedocument.drawingml.chart+xml"/>
  <Override PartName="/ppt/charts/chart2079.xml" ContentType="application/vnd.openxmlformats-officedocument.drawingml.chart+xml"/>
  <Override PartName="/ppt/charts/chart208.xml" ContentType="application/vnd.openxmlformats-officedocument.drawingml.chart+xml"/>
  <Override PartName="/ppt/charts/chart2080.xml" ContentType="application/vnd.openxmlformats-officedocument.drawingml.chart+xml"/>
  <Override PartName="/ppt/charts/chart2081.xml" ContentType="application/vnd.openxmlformats-officedocument.drawingml.chart+xml"/>
  <Override PartName="/ppt/charts/chart2082.xml" ContentType="application/vnd.openxmlformats-officedocument.drawingml.chart+xml"/>
  <Override PartName="/ppt/charts/chart2083.xml" ContentType="application/vnd.openxmlformats-officedocument.drawingml.chart+xml"/>
  <Override PartName="/ppt/charts/chart2084.xml" ContentType="application/vnd.openxmlformats-officedocument.drawingml.chart+xml"/>
  <Override PartName="/ppt/charts/chart2085.xml" ContentType="application/vnd.openxmlformats-officedocument.drawingml.chart+xml"/>
  <Override PartName="/ppt/charts/chart2086.xml" ContentType="application/vnd.openxmlformats-officedocument.drawingml.chart+xml"/>
  <Override PartName="/ppt/charts/chart2087.xml" ContentType="application/vnd.openxmlformats-officedocument.drawingml.chart+xml"/>
  <Override PartName="/ppt/charts/chart2088.xml" ContentType="application/vnd.openxmlformats-officedocument.drawingml.chart+xml"/>
  <Override PartName="/ppt/charts/chart2089.xml" ContentType="application/vnd.openxmlformats-officedocument.drawingml.chart+xml"/>
  <Override PartName="/ppt/charts/chart209.xml" ContentType="application/vnd.openxmlformats-officedocument.drawingml.chart+xml"/>
  <Override PartName="/ppt/charts/chart2090.xml" ContentType="application/vnd.openxmlformats-officedocument.drawingml.chart+xml"/>
  <Override PartName="/ppt/charts/chart2091.xml" ContentType="application/vnd.openxmlformats-officedocument.drawingml.chart+xml"/>
  <Override PartName="/ppt/charts/chart2092.xml" ContentType="application/vnd.openxmlformats-officedocument.drawingml.chart+xml"/>
  <Override PartName="/ppt/charts/chart2093.xml" ContentType="application/vnd.openxmlformats-officedocument.drawingml.chart+xml"/>
  <Override PartName="/ppt/charts/chart2094.xml" ContentType="application/vnd.openxmlformats-officedocument.drawingml.chart+xml"/>
  <Override PartName="/ppt/charts/chart2095.xml" ContentType="application/vnd.openxmlformats-officedocument.drawingml.chart+xml"/>
  <Override PartName="/ppt/charts/chart2096.xml" ContentType="application/vnd.openxmlformats-officedocument.drawingml.chart+xml"/>
  <Override PartName="/ppt/charts/chart2097.xml" ContentType="application/vnd.openxmlformats-officedocument.drawingml.chart+xml"/>
  <Override PartName="/ppt/charts/chart2098.xml" ContentType="application/vnd.openxmlformats-officedocument.drawingml.chart+xml"/>
  <Override PartName="/ppt/charts/chart209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00.xml" ContentType="application/vnd.openxmlformats-officedocument.drawingml.chart+xml"/>
  <Override PartName="/ppt/charts/chart2101.xml" ContentType="application/vnd.openxmlformats-officedocument.drawingml.chart+xml"/>
  <Override PartName="/ppt/charts/chart2102.xml" ContentType="application/vnd.openxmlformats-officedocument.drawingml.chart+xml"/>
  <Override PartName="/ppt/charts/chart2103.xml" ContentType="application/vnd.openxmlformats-officedocument.drawingml.chart+xml"/>
  <Override PartName="/ppt/charts/chart2104.xml" ContentType="application/vnd.openxmlformats-officedocument.drawingml.chart+xml"/>
  <Override PartName="/ppt/charts/chart2105.xml" ContentType="application/vnd.openxmlformats-officedocument.drawingml.chart+xml"/>
  <Override PartName="/ppt/charts/chart2106.xml" ContentType="application/vnd.openxmlformats-officedocument.drawingml.chart+xml"/>
  <Override PartName="/ppt/charts/chart2107.xml" ContentType="application/vnd.openxmlformats-officedocument.drawingml.chart+xml"/>
  <Override PartName="/ppt/charts/chart2108.xml" ContentType="application/vnd.openxmlformats-officedocument.drawingml.chart+xml"/>
  <Override PartName="/ppt/charts/chart2109.xml" ContentType="application/vnd.openxmlformats-officedocument.drawingml.chart+xml"/>
  <Override PartName="/ppt/charts/chart211.xml" ContentType="application/vnd.openxmlformats-officedocument.drawingml.chart+xml"/>
  <Override PartName="/ppt/charts/chart2110.xml" ContentType="application/vnd.openxmlformats-officedocument.drawingml.chart+xml"/>
  <Override PartName="/ppt/charts/chart2111.xml" ContentType="application/vnd.openxmlformats-officedocument.drawingml.chart+xml"/>
  <Override PartName="/ppt/charts/chart2112.xml" ContentType="application/vnd.openxmlformats-officedocument.drawingml.chart+xml"/>
  <Override PartName="/ppt/charts/chart2113.xml" ContentType="application/vnd.openxmlformats-officedocument.drawingml.chart+xml"/>
  <Override PartName="/ppt/charts/chart2114.xml" ContentType="application/vnd.openxmlformats-officedocument.drawingml.chart+xml"/>
  <Override PartName="/ppt/charts/chart2115.xml" ContentType="application/vnd.openxmlformats-officedocument.drawingml.chart+xml"/>
  <Override PartName="/ppt/charts/chart2116.xml" ContentType="application/vnd.openxmlformats-officedocument.drawingml.chart+xml"/>
  <Override PartName="/ppt/charts/chart2117.xml" ContentType="application/vnd.openxmlformats-officedocument.drawingml.chart+xml"/>
  <Override PartName="/ppt/charts/chart2118.xml" ContentType="application/vnd.openxmlformats-officedocument.drawingml.chart+xml"/>
  <Override PartName="/ppt/charts/chart2119.xml" ContentType="application/vnd.openxmlformats-officedocument.drawingml.chart+xml"/>
  <Override PartName="/ppt/charts/chart212.xml" ContentType="application/vnd.openxmlformats-officedocument.drawingml.chart+xml"/>
  <Override PartName="/ppt/charts/chart2120.xml" ContentType="application/vnd.openxmlformats-officedocument.drawingml.chart+xml"/>
  <Override PartName="/ppt/charts/chart2121.xml" ContentType="application/vnd.openxmlformats-officedocument.drawingml.chart+xml"/>
  <Override PartName="/ppt/charts/chart2122.xml" ContentType="application/vnd.openxmlformats-officedocument.drawingml.chart+xml"/>
  <Override PartName="/ppt/charts/chart2123.xml" ContentType="application/vnd.openxmlformats-officedocument.drawingml.chart+xml"/>
  <Override PartName="/ppt/charts/chart2124.xml" ContentType="application/vnd.openxmlformats-officedocument.drawingml.chart+xml"/>
  <Override PartName="/ppt/charts/chart2125.xml" ContentType="application/vnd.openxmlformats-officedocument.drawingml.chart+xml"/>
  <Override PartName="/ppt/charts/chart2126.xml" ContentType="application/vnd.openxmlformats-officedocument.drawingml.chart+xml"/>
  <Override PartName="/ppt/charts/chart2127.xml" ContentType="application/vnd.openxmlformats-officedocument.drawingml.chart+xml"/>
  <Override PartName="/ppt/charts/chart2128.xml" ContentType="application/vnd.openxmlformats-officedocument.drawingml.chart+xml"/>
  <Override PartName="/ppt/charts/chart2129.xml" ContentType="application/vnd.openxmlformats-officedocument.drawingml.chart+xml"/>
  <Override PartName="/ppt/charts/chart213.xml" ContentType="application/vnd.openxmlformats-officedocument.drawingml.chart+xml"/>
  <Override PartName="/ppt/charts/chart2130.xml" ContentType="application/vnd.openxmlformats-officedocument.drawingml.chart+xml"/>
  <Override PartName="/ppt/charts/chart2131.xml" ContentType="application/vnd.openxmlformats-officedocument.drawingml.chart+xml"/>
  <Override PartName="/ppt/charts/chart2132.xml" ContentType="application/vnd.openxmlformats-officedocument.drawingml.chart+xml"/>
  <Override PartName="/ppt/charts/chart2133.xml" ContentType="application/vnd.openxmlformats-officedocument.drawingml.chart+xml"/>
  <Override PartName="/ppt/charts/chart2134.xml" ContentType="application/vnd.openxmlformats-officedocument.drawingml.chart+xml"/>
  <Override PartName="/ppt/charts/chart2135.xml" ContentType="application/vnd.openxmlformats-officedocument.drawingml.chart+xml"/>
  <Override PartName="/ppt/charts/chart2136.xml" ContentType="application/vnd.openxmlformats-officedocument.drawingml.chart+xml"/>
  <Override PartName="/ppt/charts/chart2137.xml" ContentType="application/vnd.openxmlformats-officedocument.drawingml.chart+xml"/>
  <Override PartName="/ppt/charts/chart2138.xml" ContentType="application/vnd.openxmlformats-officedocument.drawingml.chart+xml"/>
  <Override PartName="/ppt/charts/chart2139.xml" ContentType="application/vnd.openxmlformats-officedocument.drawingml.chart+xml"/>
  <Override PartName="/ppt/charts/chart214.xml" ContentType="application/vnd.openxmlformats-officedocument.drawingml.chart+xml"/>
  <Override PartName="/ppt/charts/chart2140.xml" ContentType="application/vnd.openxmlformats-officedocument.drawingml.chart+xml"/>
  <Override PartName="/ppt/charts/chart2141.xml" ContentType="application/vnd.openxmlformats-officedocument.drawingml.chart+xml"/>
  <Override PartName="/ppt/charts/chart2142.xml" ContentType="application/vnd.openxmlformats-officedocument.drawingml.chart+xml"/>
  <Override PartName="/ppt/charts/chart2143.xml" ContentType="application/vnd.openxmlformats-officedocument.drawingml.chart+xml"/>
  <Override PartName="/ppt/charts/chart2144.xml" ContentType="application/vnd.openxmlformats-officedocument.drawingml.chart+xml"/>
  <Override PartName="/ppt/charts/chart2145.xml" ContentType="application/vnd.openxmlformats-officedocument.drawingml.chart+xml"/>
  <Override PartName="/ppt/charts/chart2146.xml" ContentType="application/vnd.openxmlformats-officedocument.drawingml.chart+xml"/>
  <Override PartName="/ppt/charts/chart2147.xml" ContentType="application/vnd.openxmlformats-officedocument.drawingml.chart+xml"/>
  <Override PartName="/ppt/charts/chart2148.xml" ContentType="application/vnd.openxmlformats-officedocument.drawingml.chart+xml"/>
  <Override PartName="/ppt/charts/chart2149.xml" ContentType="application/vnd.openxmlformats-officedocument.drawingml.chart+xml"/>
  <Override PartName="/ppt/charts/chart215.xml" ContentType="application/vnd.openxmlformats-officedocument.drawingml.chart+xml"/>
  <Override PartName="/ppt/charts/chart2150.xml" ContentType="application/vnd.openxmlformats-officedocument.drawingml.chart+xml"/>
  <Override PartName="/ppt/charts/chart2151.xml" ContentType="application/vnd.openxmlformats-officedocument.drawingml.chart+xml"/>
  <Override PartName="/ppt/charts/chart2152.xml" ContentType="application/vnd.openxmlformats-officedocument.drawingml.chart+xml"/>
  <Override PartName="/ppt/charts/chart2153.xml" ContentType="application/vnd.openxmlformats-officedocument.drawingml.chart+xml"/>
  <Override PartName="/ppt/charts/chart2154.xml" ContentType="application/vnd.openxmlformats-officedocument.drawingml.chart+xml"/>
  <Override PartName="/ppt/charts/chart2155.xml" ContentType="application/vnd.openxmlformats-officedocument.drawingml.chart+xml"/>
  <Override PartName="/ppt/charts/chart2156.xml" ContentType="application/vnd.openxmlformats-officedocument.drawingml.chart+xml"/>
  <Override PartName="/ppt/charts/chart2157.xml" ContentType="application/vnd.openxmlformats-officedocument.drawingml.chart+xml"/>
  <Override PartName="/ppt/charts/chart2158.xml" ContentType="application/vnd.openxmlformats-officedocument.drawingml.chart+xml"/>
  <Override PartName="/ppt/charts/chart2159.xml" ContentType="application/vnd.openxmlformats-officedocument.drawingml.chart+xml"/>
  <Override PartName="/ppt/charts/chart216.xml" ContentType="application/vnd.openxmlformats-officedocument.drawingml.chart+xml"/>
  <Override PartName="/ppt/charts/chart2160.xml" ContentType="application/vnd.openxmlformats-officedocument.drawingml.chart+xml"/>
  <Override PartName="/ppt/charts/chart2161.xml" ContentType="application/vnd.openxmlformats-officedocument.drawingml.chart+xml"/>
  <Override PartName="/ppt/charts/chart2162.xml" ContentType="application/vnd.openxmlformats-officedocument.drawingml.chart+xml"/>
  <Override PartName="/ppt/charts/chart2163.xml" ContentType="application/vnd.openxmlformats-officedocument.drawingml.chart+xml"/>
  <Override PartName="/ppt/charts/chart2164.xml" ContentType="application/vnd.openxmlformats-officedocument.drawingml.chart+xml"/>
  <Override PartName="/ppt/charts/chart2165.xml" ContentType="application/vnd.openxmlformats-officedocument.drawingml.chart+xml"/>
  <Override PartName="/ppt/charts/chart2166.xml" ContentType="application/vnd.openxmlformats-officedocument.drawingml.chart+xml"/>
  <Override PartName="/ppt/charts/chart2167.xml" ContentType="application/vnd.openxmlformats-officedocument.drawingml.chart+xml"/>
  <Override PartName="/ppt/charts/chart2168.xml" ContentType="application/vnd.openxmlformats-officedocument.drawingml.chart+xml"/>
  <Override PartName="/ppt/charts/chart2169.xml" ContentType="application/vnd.openxmlformats-officedocument.drawingml.chart+xml"/>
  <Override PartName="/ppt/charts/chart217.xml" ContentType="application/vnd.openxmlformats-officedocument.drawingml.chart+xml"/>
  <Override PartName="/ppt/charts/chart2170.xml" ContentType="application/vnd.openxmlformats-officedocument.drawingml.chart+xml"/>
  <Override PartName="/ppt/charts/chart2171.xml" ContentType="application/vnd.openxmlformats-officedocument.drawingml.chart+xml"/>
  <Override PartName="/ppt/charts/chart2172.xml" ContentType="application/vnd.openxmlformats-officedocument.drawingml.chart+xml"/>
  <Override PartName="/ppt/charts/chart2173.xml" ContentType="application/vnd.openxmlformats-officedocument.drawingml.chart+xml"/>
  <Override PartName="/ppt/charts/chart2174.xml" ContentType="application/vnd.openxmlformats-officedocument.drawingml.chart+xml"/>
  <Override PartName="/ppt/charts/chart2175.xml" ContentType="application/vnd.openxmlformats-officedocument.drawingml.chart+xml"/>
  <Override PartName="/ppt/charts/chart2176.xml" ContentType="application/vnd.openxmlformats-officedocument.drawingml.chart+xml"/>
  <Override PartName="/ppt/charts/chart2177.xml" ContentType="application/vnd.openxmlformats-officedocument.drawingml.chart+xml"/>
  <Override PartName="/ppt/charts/chart2178.xml" ContentType="application/vnd.openxmlformats-officedocument.drawingml.chart+xml"/>
  <Override PartName="/ppt/charts/chart2179.xml" ContentType="application/vnd.openxmlformats-officedocument.drawingml.chart+xml"/>
  <Override PartName="/ppt/charts/chart218.xml" ContentType="application/vnd.openxmlformats-officedocument.drawingml.chart+xml"/>
  <Override PartName="/ppt/charts/chart2180.xml" ContentType="application/vnd.openxmlformats-officedocument.drawingml.chart+xml"/>
  <Override PartName="/ppt/charts/chart2181.xml" ContentType="application/vnd.openxmlformats-officedocument.drawingml.chart+xml"/>
  <Override PartName="/ppt/charts/chart2182.xml" ContentType="application/vnd.openxmlformats-officedocument.drawingml.chart+xml"/>
  <Override PartName="/ppt/charts/chart2183.xml" ContentType="application/vnd.openxmlformats-officedocument.drawingml.chart+xml"/>
  <Override PartName="/ppt/charts/chart2184.xml" ContentType="application/vnd.openxmlformats-officedocument.drawingml.chart+xml"/>
  <Override PartName="/ppt/charts/chart2185.xml" ContentType="application/vnd.openxmlformats-officedocument.drawingml.chart+xml"/>
  <Override PartName="/ppt/charts/chart2186.xml" ContentType="application/vnd.openxmlformats-officedocument.drawingml.chart+xml"/>
  <Override PartName="/ppt/charts/chart2187.xml" ContentType="application/vnd.openxmlformats-officedocument.drawingml.chart+xml"/>
  <Override PartName="/ppt/charts/chart2188.xml" ContentType="application/vnd.openxmlformats-officedocument.drawingml.chart+xml"/>
  <Override PartName="/ppt/charts/chart2189.xml" ContentType="application/vnd.openxmlformats-officedocument.drawingml.chart+xml"/>
  <Override PartName="/ppt/charts/chart219.xml" ContentType="application/vnd.openxmlformats-officedocument.drawingml.chart+xml"/>
  <Override PartName="/ppt/charts/chart2190.xml" ContentType="application/vnd.openxmlformats-officedocument.drawingml.chart+xml"/>
  <Override PartName="/ppt/charts/chart2191.xml" ContentType="application/vnd.openxmlformats-officedocument.drawingml.chart+xml"/>
  <Override PartName="/ppt/charts/chart2192.xml" ContentType="application/vnd.openxmlformats-officedocument.drawingml.chart+xml"/>
  <Override PartName="/ppt/charts/chart2193.xml" ContentType="application/vnd.openxmlformats-officedocument.drawingml.chart+xml"/>
  <Override PartName="/ppt/charts/chart2194.xml" ContentType="application/vnd.openxmlformats-officedocument.drawingml.chart+xml"/>
  <Override PartName="/ppt/charts/chart2195.xml" ContentType="application/vnd.openxmlformats-officedocument.drawingml.chart+xml"/>
  <Override PartName="/ppt/charts/chart2196.xml" ContentType="application/vnd.openxmlformats-officedocument.drawingml.chart+xml"/>
  <Override PartName="/ppt/charts/chart2197.xml" ContentType="application/vnd.openxmlformats-officedocument.drawingml.chart+xml"/>
  <Override PartName="/ppt/charts/chart2198.xml" ContentType="application/vnd.openxmlformats-officedocument.drawingml.chart+xml"/>
  <Override PartName="/ppt/charts/chart219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00.xml" ContentType="application/vnd.openxmlformats-officedocument.drawingml.chart+xml"/>
  <Override PartName="/ppt/charts/chart2201.xml" ContentType="application/vnd.openxmlformats-officedocument.drawingml.chart+xml"/>
  <Override PartName="/ppt/charts/chart2202.xml" ContentType="application/vnd.openxmlformats-officedocument.drawingml.chart+xml"/>
  <Override PartName="/ppt/charts/chart2203.xml" ContentType="application/vnd.openxmlformats-officedocument.drawingml.chart+xml"/>
  <Override PartName="/ppt/charts/chart2204.xml" ContentType="application/vnd.openxmlformats-officedocument.drawingml.chart+xml"/>
  <Override PartName="/ppt/charts/chart2205.xml" ContentType="application/vnd.openxmlformats-officedocument.drawingml.chart+xml"/>
  <Override PartName="/ppt/charts/chart2206.xml" ContentType="application/vnd.openxmlformats-officedocument.drawingml.chart+xml"/>
  <Override PartName="/ppt/charts/chart2207.xml" ContentType="application/vnd.openxmlformats-officedocument.drawingml.chart+xml"/>
  <Override PartName="/ppt/charts/chart2208.xml" ContentType="application/vnd.openxmlformats-officedocument.drawingml.chart+xml"/>
  <Override PartName="/ppt/charts/chart2209.xml" ContentType="application/vnd.openxmlformats-officedocument.drawingml.chart+xml"/>
  <Override PartName="/ppt/charts/chart221.xml" ContentType="application/vnd.openxmlformats-officedocument.drawingml.chart+xml"/>
  <Override PartName="/ppt/charts/chart2210.xml" ContentType="application/vnd.openxmlformats-officedocument.drawingml.chart+xml"/>
  <Override PartName="/ppt/charts/chart2211.xml" ContentType="application/vnd.openxmlformats-officedocument.drawingml.chart+xml"/>
  <Override PartName="/ppt/charts/chart2212.xml" ContentType="application/vnd.openxmlformats-officedocument.drawingml.chart+xml"/>
  <Override PartName="/ppt/charts/chart2213.xml" ContentType="application/vnd.openxmlformats-officedocument.drawingml.chart+xml"/>
  <Override PartName="/ppt/charts/chart2214.xml" ContentType="application/vnd.openxmlformats-officedocument.drawingml.chart+xml"/>
  <Override PartName="/ppt/charts/chart2215.xml" ContentType="application/vnd.openxmlformats-officedocument.drawingml.chart+xml"/>
  <Override PartName="/ppt/charts/chart2216.xml" ContentType="application/vnd.openxmlformats-officedocument.drawingml.chart+xml"/>
  <Override PartName="/ppt/charts/chart2217.xml" ContentType="application/vnd.openxmlformats-officedocument.drawingml.chart+xml"/>
  <Override PartName="/ppt/charts/chart2218.xml" ContentType="application/vnd.openxmlformats-officedocument.drawingml.chart+xml"/>
  <Override PartName="/ppt/charts/chart2219.xml" ContentType="application/vnd.openxmlformats-officedocument.drawingml.chart+xml"/>
  <Override PartName="/ppt/charts/chart222.xml" ContentType="application/vnd.openxmlformats-officedocument.drawingml.chart+xml"/>
  <Override PartName="/ppt/charts/chart2220.xml" ContentType="application/vnd.openxmlformats-officedocument.drawingml.chart+xml"/>
  <Override PartName="/ppt/charts/chart2221.xml" ContentType="application/vnd.openxmlformats-officedocument.drawingml.chart+xml"/>
  <Override PartName="/ppt/charts/chart2222.xml" ContentType="application/vnd.openxmlformats-officedocument.drawingml.chart+xml"/>
  <Override PartName="/ppt/charts/chart2223.xml" ContentType="application/vnd.openxmlformats-officedocument.drawingml.chart+xml"/>
  <Override PartName="/ppt/charts/chart2224.xml" ContentType="application/vnd.openxmlformats-officedocument.drawingml.chart+xml"/>
  <Override PartName="/ppt/charts/chart2225.xml" ContentType="application/vnd.openxmlformats-officedocument.drawingml.chart+xml"/>
  <Override PartName="/ppt/charts/chart2226.xml" ContentType="application/vnd.openxmlformats-officedocument.drawingml.chart+xml"/>
  <Override PartName="/ppt/charts/chart2227.xml" ContentType="application/vnd.openxmlformats-officedocument.drawingml.chart+xml"/>
  <Override PartName="/ppt/charts/chart2228.xml" ContentType="application/vnd.openxmlformats-officedocument.drawingml.chart+xml"/>
  <Override PartName="/ppt/charts/chart2229.xml" ContentType="application/vnd.openxmlformats-officedocument.drawingml.chart+xml"/>
  <Override PartName="/ppt/charts/chart223.xml" ContentType="application/vnd.openxmlformats-officedocument.drawingml.chart+xml"/>
  <Override PartName="/ppt/charts/chart2230.xml" ContentType="application/vnd.openxmlformats-officedocument.drawingml.chart+xml"/>
  <Override PartName="/ppt/charts/chart2231.xml" ContentType="application/vnd.openxmlformats-officedocument.drawingml.chart+xml"/>
  <Override PartName="/ppt/charts/chart2232.xml" ContentType="application/vnd.openxmlformats-officedocument.drawingml.chart+xml"/>
  <Override PartName="/ppt/charts/chart2233.xml" ContentType="application/vnd.openxmlformats-officedocument.drawingml.chart+xml"/>
  <Override PartName="/ppt/charts/chart2234.xml" ContentType="application/vnd.openxmlformats-officedocument.drawingml.chart+xml"/>
  <Override PartName="/ppt/charts/chart2235.xml" ContentType="application/vnd.openxmlformats-officedocument.drawingml.chart+xml"/>
  <Override PartName="/ppt/charts/chart2236.xml" ContentType="application/vnd.openxmlformats-officedocument.drawingml.chart+xml"/>
  <Override PartName="/ppt/charts/chart2237.xml" ContentType="application/vnd.openxmlformats-officedocument.drawingml.chart+xml"/>
  <Override PartName="/ppt/charts/chart2238.xml" ContentType="application/vnd.openxmlformats-officedocument.drawingml.chart+xml"/>
  <Override PartName="/ppt/charts/chart2239.xml" ContentType="application/vnd.openxmlformats-officedocument.drawingml.chart+xml"/>
  <Override PartName="/ppt/charts/chart224.xml" ContentType="application/vnd.openxmlformats-officedocument.drawingml.chart+xml"/>
  <Override PartName="/ppt/charts/chart2240.xml" ContentType="application/vnd.openxmlformats-officedocument.drawingml.chart+xml"/>
  <Override PartName="/ppt/charts/chart2241.xml" ContentType="application/vnd.openxmlformats-officedocument.drawingml.chart+xml"/>
  <Override PartName="/ppt/charts/chart2242.xml" ContentType="application/vnd.openxmlformats-officedocument.drawingml.chart+xml"/>
  <Override PartName="/ppt/charts/chart2243.xml" ContentType="application/vnd.openxmlformats-officedocument.drawingml.chart+xml"/>
  <Override PartName="/ppt/charts/chart2244.xml" ContentType="application/vnd.openxmlformats-officedocument.drawingml.chart+xml"/>
  <Override PartName="/ppt/charts/chart2245.xml" ContentType="application/vnd.openxmlformats-officedocument.drawingml.chart+xml"/>
  <Override PartName="/ppt/charts/chart2246.xml" ContentType="application/vnd.openxmlformats-officedocument.drawingml.chart+xml"/>
  <Override PartName="/ppt/charts/chart2247.xml" ContentType="application/vnd.openxmlformats-officedocument.drawingml.chart+xml"/>
  <Override PartName="/ppt/charts/chart2248.xml" ContentType="application/vnd.openxmlformats-officedocument.drawingml.chart+xml"/>
  <Override PartName="/ppt/charts/chart2249.xml" ContentType="application/vnd.openxmlformats-officedocument.drawingml.chart+xml"/>
  <Override PartName="/ppt/charts/chart225.xml" ContentType="application/vnd.openxmlformats-officedocument.drawingml.chart+xml"/>
  <Override PartName="/ppt/charts/chart2250.xml" ContentType="application/vnd.openxmlformats-officedocument.drawingml.chart+xml"/>
  <Override PartName="/ppt/charts/chart2251.xml" ContentType="application/vnd.openxmlformats-officedocument.drawingml.chart+xml"/>
  <Override PartName="/ppt/charts/chart2252.xml" ContentType="application/vnd.openxmlformats-officedocument.drawingml.chart+xml"/>
  <Override PartName="/ppt/charts/chart2253.xml" ContentType="application/vnd.openxmlformats-officedocument.drawingml.chart+xml"/>
  <Override PartName="/ppt/charts/chart2254.xml" ContentType="application/vnd.openxmlformats-officedocument.drawingml.chart+xml"/>
  <Override PartName="/ppt/charts/chart2255.xml" ContentType="application/vnd.openxmlformats-officedocument.drawingml.chart+xml"/>
  <Override PartName="/ppt/charts/chart2256.xml" ContentType="application/vnd.openxmlformats-officedocument.drawingml.chart+xml"/>
  <Override PartName="/ppt/charts/chart2257.xml" ContentType="application/vnd.openxmlformats-officedocument.drawingml.chart+xml"/>
  <Override PartName="/ppt/charts/chart2258.xml" ContentType="application/vnd.openxmlformats-officedocument.drawingml.chart+xml"/>
  <Override PartName="/ppt/charts/chart2259.xml" ContentType="application/vnd.openxmlformats-officedocument.drawingml.chart+xml"/>
  <Override PartName="/ppt/charts/chart226.xml" ContentType="application/vnd.openxmlformats-officedocument.drawingml.chart+xml"/>
  <Override PartName="/ppt/charts/chart2260.xml" ContentType="application/vnd.openxmlformats-officedocument.drawingml.chart+xml"/>
  <Override PartName="/ppt/charts/chart2261.xml" ContentType="application/vnd.openxmlformats-officedocument.drawingml.chart+xml"/>
  <Override PartName="/ppt/charts/chart2262.xml" ContentType="application/vnd.openxmlformats-officedocument.drawingml.chart+xml"/>
  <Override PartName="/ppt/charts/chart2263.xml" ContentType="application/vnd.openxmlformats-officedocument.drawingml.chart+xml"/>
  <Override PartName="/ppt/charts/chart2264.xml" ContentType="application/vnd.openxmlformats-officedocument.drawingml.chart+xml"/>
  <Override PartName="/ppt/charts/chart2265.xml" ContentType="application/vnd.openxmlformats-officedocument.drawingml.chart+xml"/>
  <Override PartName="/ppt/charts/chart2266.xml" ContentType="application/vnd.openxmlformats-officedocument.drawingml.chart+xml"/>
  <Override PartName="/ppt/charts/chart2267.xml" ContentType="application/vnd.openxmlformats-officedocument.drawingml.chart+xml"/>
  <Override PartName="/ppt/charts/chart2268.xml" ContentType="application/vnd.openxmlformats-officedocument.drawingml.chart+xml"/>
  <Override PartName="/ppt/charts/chart2269.xml" ContentType="application/vnd.openxmlformats-officedocument.drawingml.chart+xml"/>
  <Override PartName="/ppt/charts/chart227.xml" ContentType="application/vnd.openxmlformats-officedocument.drawingml.chart+xml"/>
  <Override PartName="/ppt/charts/chart2270.xml" ContentType="application/vnd.openxmlformats-officedocument.drawingml.chart+xml"/>
  <Override PartName="/ppt/charts/chart2271.xml" ContentType="application/vnd.openxmlformats-officedocument.drawingml.chart+xml"/>
  <Override PartName="/ppt/charts/chart2272.xml" ContentType="application/vnd.openxmlformats-officedocument.drawingml.chart+xml"/>
  <Override PartName="/ppt/charts/chart2273.xml" ContentType="application/vnd.openxmlformats-officedocument.drawingml.chart+xml"/>
  <Override PartName="/ppt/charts/chart2274.xml" ContentType="application/vnd.openxmlformats-officedocument.drawingml.chart+xml"/>
  <Override PartName="/ppt/charts/chart2275.xml" ContentType="application/vnd.openxmlformats-officedocument.drawingml.chart+xml"/>
  <Override PartName="/ppt/charts/chart2276.xml" ContentType="application/vnd.openxmlformats-officedocument.drawingml.chart+xml"/>
  <Override PartName="/ppt/charts/chart2277.xml" ContentType="application/vnd.openxmlformats-officedocument.drawingml.chart+xml"/>
  <Override PartName="/ppt/charts/chart2278.xml" ContentType="application/vnd.openxmlformats-officedocument.drawingml.chart+xml"/>
  <Override PartName="/ppt/charts/chart2279.xml" ContentType="application/vnd.openxmlformats-officedocument.drawingml.chart+xml"/>
  <Override PartName="/ppt/charts/chart228.xml" ContentType="application/vnd.openxmlformats-officedocument.drawingml.chart+xml"/>
  <Override PartName="/ppt/charts/chart2280.xml" ContentType="application/vnd.openxmlformats-officedocument.drawingml.chart+xml"/>
  <Override PartName="/ppt/charts/chart2281.xml" ContentType="application/vnd.openxmlformats-officedocument.drawingml.chart+xml"/>
  <Override PartName="/ppt/charts/chart2282.xml" ContentType="application/vnd.openxmlformats-officedocument.drawingml.chart+xml"/>
  <Override PartName="/ppt/charts/chart2283.xml" ContentType="application/vnd.openxmlformats-officedocument.drawingml.chart+xml"/>
  <Override PartName="/ppt/charts/chart2284.xml" ContentType="application/vnd.openxmlformats-officedocument.drawingml.chart+xml"/>
  <Override PartName="/ppt/charts/chart2285.xml" ContentType="application/vnd.openxmlformats-officedocument.drawingml.chart+xml"/>
  <Override PartName="/ppt/charts/chart2286.xml" ContentType="application/vnd.openxmlformats-officedocument.drawingml.chart+xml"/>
  <Override PartName="/ppt/charts/chart2287.xml" ContentType="application/vnd.openxmlformats-officedocument.drawingml.chart+xml"/>
  <Override PartName="/ppt/charts/chart2288.xml" ContentType="application/vnd.openxmlformats-officedocument.drawingml.chart+xml"/>
  <Override PartName="/ppt/charts/chart2289.xml" ContentType="application/vnd.openxmlformats-officedocument.drawingml.chart+xml"/>
  <Override PartName="/ppt/charts/chart229.xml" ContentType="application/vnd.openxmlformats-officedocument.drawingml.chart+xml"/>
  <Override PartName="/ppt/charts/chart2290.xml" ContentType="application/vnd.openxmlformats-officedocument.drawingml.chart+xml"/>
  <Override PartName="/ppt/charts/chart2291.xml" ContentType="application/vnd.openxmlformats-officedocument.drawingml.chart+xml"/>
  <Override PartName="/ppt/charts/chart2292.xml" ContentType="application/vnd.openxmlformats-officedocument.drawingml.chart+xml"/>
  <Override PartName="/ppt/charts/chart2293.xml" ContentType="application/vnd.openxmlformats-officedocument.drawingml.chart+xml"/>
  <Override PartName="/ppt/charts/chart2294.xml" ContentType="application/vnd.openxmlformats-officedocument.drawingml.chart+xml"/>
  <Override PartName="/ppt/charts/chart2295.xml" ContentType="application/vnd.openxmlformats-officedocument.drawingml.chart+xml"/>
  <Override PartName="/ppt/charts/chart2296.xml" ContentType="application/vnd.openxmlformats-officedocument.drawingml.chart+xml"/>
  <Override PartName="/ppt/charts/chart2297.xml" ContentType="application/vnd.openxmlformats-officedocument.drawingml.chart+xml"/>
  <Override PartName="/ppt/charts/chart2298.xml" ContentType="application/vnd.openxmlformats-officedocument.drawingml.chart+xml"/>
  <Override PartName="/ppt/charts/chart229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00.xml" ContentType="application/vnd.openxmlformats-officedocument.drawingml.chart+xml"/>
  <Override PartName="/ppt/charts/chart2301.xml" ContentType="application/vnd.openxmlformats-officedocument.drawingml.chart+xml"/>
  <Override PartName="/ppt/charts/chart2302.xml" ContentType="application/vnd.openxmlformats-officedocument.drawingml.chart+xml"/>
  <Override PartName="/ppt/charts/chart2303.xml" ContentType="application/vnd.openxmlformats-officedocument.drawingml.chart+xml"/>
  <Override PartName="/ppt/charts/chart2304.xml" ContentType="application/vnd.openxmlformats-officedocument.drawingml.chart+xml"/>
  <Override PartName="/ppt/charts/chart2305.xml" ContentType="application/vnd.openxmlformats-officedocument.drawingml.chart+xml"/>
  <Override PartName="/ppt/charts/chart2306.xml" ContentType="application/vnd.openxmlformats-officedocument.drawingml.chart+xml"/>
  <Override PartName="/ppt/charts/chart2307.xml" ContentType="application/vnd.openxmlformats-officedocument.drawingml.chart+xml"/>
  <Override PartName="/ppt/charts/chart2308.xml" ContentType="application/vnd.openxmlformats-officedocument.drawingml.chart+xml"/>
  <Override PartName="/ppt/charts/chart2309.xml" ContentType="application/vnd.openxmlformats-officedocument.drawingml.chart+xml"/>
  <Override PartName="/ppt/charts/chart231.xml" ContentType="application/vnd.openxmlformats-officedocument.drawingml.chart+xml"/>
  <Override PartName="/ppt/charts/chart2310.xml" ContentType="application/vnd.openxmlformats-officedocument.drawingml.chart+xml"/>
  <Override PartName="/ppt/charts/chart2311.xml" ContentType="application/vnd.openxmlformats-officedocument.drawingml.chart+xml"/>
  <Override PartName="/ppt/charts/chart2312.xml" ContentType="application/vnd.openxmlformats-officedocument.drawingml.chart+xml"/>
  <Override PartName="/ppt/charts/chart2313.xml" ContentType="application/vnd.openxmlformats-officedocument.drawingml.chart+xml"/>
  <Override PartName="/ppt/charts/chart2314.xml" ContentType="application/vnd.openxmlformats-officedocument.drawingml.chart+xml"/>
  <Override PartName="/ppt/charts/chart2315.xml" ContentType="application/vnd.openxmlformats-officedocument.drawingml.chart+xml"/>
  <Override PartName="/ppt/charts/chart2316.xml" ContentType="application/vnd.openxmlformats-officedocument.drawingml.chart+xml"/>
  <Override PartName="/ppt/charts/chart2317.xml" ContentType="application/vnd.openxmlformats-officedocument.drawingml.chart+xml"/>
  <Override PartName="/ppt/charts/chart2318.xml" ContentType="application/vnd.openxmlformats-officedocument.drawingml.chart+xml"/>
  <Override PartName="/ppt/charts/chart2319.xml" ContentType="application/vnd.openxmlformats-officedocument.drawingml.chart+xml"/>
  <Override PartName="/ppt/charts/chart232.xml" ContentType="application/vnd.openxmlformats-officedocument.drawingml.chart+xml"/>
  <Override PartName="/ppt/charts/chart2320.xml" ContentType="application/vnd.openxmlformats-officedocument.drawingml.chart+xml"/>
  <Override PartName="/ppt/charts/chart2321.xml" ContentType="application/vnd.openxmlformats-officedocument.drawingml.chart+xml"/>
  <Override PartName="/ppt/charts/chart2322.xml" ContentType="application/vnd.openxmlformats-officedocument.drawingml.chart+xml"/>
  <Override PartName="/ppt/charts/chart2323.xml" ContentType="application/vnd.openxmlformats-officedocument.drawingml.chart+xml"/>
  <Override PartName="/ppt/charts/chart2324.xml" ContentType="application/vnd.openxmlformats-officedocument.drawingml.chart+xml"/>
  <Override PartName="/ppt/charts/chart2325.xml" ContentType="application/vnd.openxmlformats-officedocument.drawingml.chart+xml"/>
  <Override PartName="/ppt/charts/chart2326.xml" ContentType="application/vnd.openxmlformats-officedocument.drawingml.chart+xml"/>
  <Override PartName="/ppt/charts/chart2327.xml" ContentType="application/vnd.openxmlformats-officedocument.drawingml.chart+xml"/>
  <Override PartName="/ppt/charts/chart2328.xml" ContentType="application/vnd.openxmlformats-officedocument.drawingml.chart+xml"/>
  <Override PartName="/ppt/charts/chart2329.xml" ContentType="application/vnd.openxmlformats-officedocument.drawingml.chart+xml"/>
  <Override PartName="/ppt/charts/chart233.xml" ContentType="application/vnd.openxmlformats-officedocument.drawingml.chart+xml"/>
  <Override PartName="/ppt/charts/chart2330.xml" ContentType="application/vnd.openxmlformats-officedocument.drawingml.chart+xml"/>
  <Override PartName="/ppt/charts/chart2331.xml" ContentType="application/vnd.openxmlformats-officedocument.drawingml.chart+xml"/>
  <Override PartName="/ppt/charts/chart2332.xml" ContentType="application/vnd.openxmlformats-officedocument.drawingml.chart+xml"/>
  <Override PartName="/ppt/charts/chart2333.xml" ContentType="application/vnd.openxmlformats-officedocument.drawingml.chart+xml"/>
  <Override PartName="/ppt/charts/chart2334.xml" ContentType="application/vnd.openxmlformats-officedocument.drawingml.chart+xml"/>
  <Override PartName="/ppt/charts/chart2335.xml" ContentType="application/vnd.openxmlformats-officedocument.drawingml.chart+xml"/>
  <Override PartName="/ppt/charts/chart2336.xml" ContentType="application/vnd.openxmlformats-officedocument.drawingml.chart+xml"/>
  <Override PartName="/ppt/charts/chart2337.xml" ContentType="application/vnd.openxmlformats-officedocument.drawingml.chart+xml"/>
  <Override PartName="/ppt/charts/chart2338.xml" ContentType="application/vnd.openxmlformats-officedocument.drawingml.chart+xml"/>
  <Override PartName="/ppt/charts/chart2339.xml" ContentType="application/vnd.openxmlformats-officedocument.drawingml.chart+xml"/>
  <Override PartName="/ppt/charts/chart234.xml" ContentType="application/vnd.openxmlformats-officedocument.drawingml.chart+xml"/>
  <Override PartName="/ppt/charts/chart2340.xml" ContentType="application/vnd.openxmlformats-officedocument.drawingml.chart+xml"/>
  <Override PartName="/ppt/charts/chart2341.xml" ContentType="application/vnd.openxmlformats-officedocument.drawingml.chart+xml"/>
  <Override PartName="/ppt/charts/chart2342.xml" ContentType="application/vnd.openxmlformats-officedocument.drawingml.chart+xml"/>
  <Override PartName="/ppt/charts/chart2343.xml" ContentType="application/vnd.openxmlformats-officedocument.drawingml.chart+xml"/>
  <Override PartName="/ppt/charts/chart2344.xml" ContentType="application/vnd.openxmlformats-officedocument.drawingml.chart+xml"/>
  <Override PartName="/ppt/charts/chart2345.xml" ContentType="application/vnd.openxmlformats-officedocument.drawingml.chart+xml"/>
  <Override PartName="/ppt/charts/chart2346.xml" ContentType="application/vnd.openxmlformats-officedocument.drawingml.chart+xml"/>
  <Override PartName="/ppt/charts/chart2347.xml" ContentType="application/vnd.openxmlformats-officedocument.drawingml.chart+xml"/>
  <Override PartName="/ppt/charts/chart2348.xml" ContentType="application/vnd.openxmlformats-officedocument.drawingml.chart+xml"/>
  <Override PartName="/ppt/charts/chart2349.xml" ContentType="application/vnd.openxmlformats-officedocument.drawingml.chart+xml"/>
  <Override PartName="/ppt/charts/chart235.xml" ContentType="application/vnd.openxmlformats-officedocument.drawingml.chart+xml"/>
  <Override PartName="/ppt/charts/chart2350.xml" ContentType="application/vnd.openxmlformats-officedocument.drawingml.chart+xml"/>
  <Override PartName="/ppt/charts/chart2351.xml" ContentType="application/vnd.openxmlformats-officedocument.drawingml.chart+xml"/>
  <Override PartName="/ppt/charts/chart2352.xml" ContentType="application/vnd.openxmlformats-officedocument.drawingml.chart+xml"/>
  <Override PartName="/ppt/charts/chart2353.xml" ContentType="application/vnd.openxmlformats-officedocument.drawingml.chart+xml"/>
  <Override PartName="/ppt/charts/chart2354.xml" ContentType="application/vnd.openxmlformats-officedocument.drawingml.chart+xml"/>
  <Override PartName="/ppt/charts/chart2355.xml" ContentType="application/vnd.openxmlformats-officedocument.drawingml.chart+xml"/>
  <Override PartName="/ppt/charts/chart2356.xml" ContentType="application/vnd.openxmlformats-officedocument.drawingml.chart+xml"/>
  <Override PartName="/ppt/charts/chart2357.xml" ContentType="application/vnd.openxmlformats-officedocument.drawingml.chart+xml"/>
  <Override PartName="/ppt/charts/chart2358.xml" ContentType="application/vnd.openxmlformats-officedocument.drawingml.chart+xml"/>
  <Override PartName="/ppt/charts/chart2359.xml" ContentType="application/vnd.openxmlformats-officedocument.drawingml.chart+xml"/>
  <Override PartName="/ppt/charts/chart236.xml" ContentType="application/vnd.openxmlformats-officedocument.drawingml.chart+xml"/>
  <Override PartName="/ppt/charts/chart2360.xml" ContentType="application/vnd.openxmlformats-officedocument.drawingml.chart+xml"/>
  <Override PartName="/ppt/charts/chart2361.xml" ContentType="application/vnd.openxmlformats-officedocument.drawingml.chart+xml"/>
  <Override PartName="/ppt/charts/chart2362.xml" ContentType="application/vnd.openxmlformats-officedocument.drawingml.chart+xml"/>
  <Override PartName="/ppt/charts/chart2363.xml" ContentType="application/vnd.openxmlformats-officedocument.drawingml.chart+xml"/>
  <Override PartName="/ppt/charts/chart2364.xml" ContentType="application/vnd.openxmlformats-officedocument.drawingml.chart+xml"/>
  <Override PartName="/ppt/charts/chart2365.xml" ContentType="application/vnd.openxmlformats-officedocument.drawingml.chart+xml"/>
  <Override PartName="/ppt/charts/chart2366.xml" ContentType="application/vnd.openxmlformats-officedocument.drawingml.chart+xml"/>
  <Override PartName="/ppt/charts/chart2367.xml" ContentType="application/vnd.openxmlformats-officedocument.drawingml.chart+xml"/>
  <Override PartName="/ppt/charts/chart2368.xml" ContentType="application/vnd.openxmlformats-officedocument.drawingml.chart+xml"/>
  <Override PartName="/ppt/charts/chart2369.xml" ContentType="application/vnd.openxmlformats-officedocument.drawingml.chart+xml"/>
  <Override PartName="/ppt/charts/chart237.xml" ContentType="application/vnd.openxmlformats-officedocument.drawingml.chart+xml"/>
  <Override PartName="/ppt/charts/chart2370.xml" ContentType="application/vnd.openxmlformats-officedocument.drawingml.chart+xml"/>
  <Override PartName="/ppt/charts/chart2371.xml" ContentType="application/vnd.openxmlformats-officedocument.drawingml.chart+xml"/>
  <Override PartName="/ppt/charts/chart2372.xml" ContentType="application/vnd.openxmlformats-officedocument.drawingml.chart+xml"/>
  <Override PartName="/ppt/charts/chart2373.xml" ContentType="application/vnd.openxmlformats-officedocument.drawingml.chart+xml"/>
  <Override PartName="/ppt/charts/chart2374.xml" ContentType="application/vnd.openxmlformats-officedocument.drawingml.chart+xml"/>
  <Override PartName="/ppt/charts/chart2375.xml" ContentType="application/vnd.openxmlformats-officedocument.drawingml.chart+xml"/>
  <Override PartName="/ppt/charts/chart2376.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691.xml" ContentType="application/vnd.ms-office.chartcolorstyle+xml"/>
  <Override PartName="/ppt/charts/colors692.xml" ContentType="application/vnd.ms-office.chartcolorstyle+xml"/>
  <Override PartName="/ppt/charts/colors693.xml" ContentType="application/vnd.ms-office.chartcolorstyle+xml"/>
  <Override PartName="/ppt/charts/colors694.xml" ContentType="application/vnd.ms-office.chartcolorstyle+xml"/>
  <Override PartName="/ppt/charts/colors695.xml" ContentType="application/vnd.ms-office.chartcolorstyle+xml"/>
  <Override PartName="/ppt/charts/colors696.xml" ContentType="application/vnd.ms-office.chartcolorstyle+xml"/>
  <Override PartName="/ppt/charts/colors697.xml" ContentType="application/vnd.ms-office.chartcolorstyle+xml"/>
  <Override PartName="/ppt/charts/colors698.xml" ContentType="application/vnd.ms-office.chartcolorstyle+xml"/>
  <Override PartName="/ppt/charts/colors699.xml" ContentType="application/vnd.ms-office.chartcolorstyle+xml"/>
  <Override PartName="/ppt/charts/colors7.xml" ContentType="application/vnd.ms-office.chartcolorstyle+xml"/>
  <Override PartName="/ppt/charts/colors70.xml" ContentType="application/vnd.ms-office.chartcolorstyle+xml"/>
  <Override PartName="/ppt/charts/colors700.xml" ContentType="application/vnd.ms-office.chartcolorstyle+xml"/>
  <Override PartName="/ppt/charts/colors701.xml" ContentType="application/vnd.ms-office.chartcolorstyle+xml"/>
  <Override PartName="/ppt/charts/colors702.xml" ContentType="application/vnd.ms-office.chartcolorstyle+xml"/>
  <Override PartName="/ppt/charts/colors703.xml" ContentType="application/vnd.ms-office.chartcolorstyle+xml"/>
  <Override PartName="/ppt/charts/colors704.xml" ContentType="application/vnd.ms-office.chartcolorstyle+xml"/>
  <Override PartName="/ppt/charts/colors705.xml" ContentType="application/vnd.ms-office.chartcolorstyle+xml"/>
  <Override PartName="/ppt/charts/colors706.xml" ContentType="application/vnd.ms-office.chartcolorstyle+xml"/>
  <Override PartName="/ppt/charts/colors707.xml" ContentType="application/vnd.ms-office.chartcolorstyle+xml"/>
  <Override PartName="/ppt/charts/colors708.xml" ContentType="application/vnd.ms-office.chartcolorstyle+xml"/>
  <Override PartName="/ppt/charts/colors709.xml" ContentType="application/vnd.ms-office.chartcolorstyle+xml"/>
  <Override PartName="/ppt/charts/colors71.xml" ContentType="application/vnd.ms-office.chartcolorstyle+xml"/>
  <Override PartName="/ppt/charts/colors710.xml" ContentType="application/vnd.ms-office.chartcolorstyle+xml"/>
  <Override PartName="/ppt/charts/colors711.xml" ContentType="application/vnd.ms-office.chartcolorstyle+xml"/>
  <Override PartName="/ppt/charts/colors712.xml" ContentType="application/vnd.ms-office.chartcolorstyle+xml"/>
  <Override PartName="/ppt/charts/colors713.xml" ContentType="application/vnd.ms-office.chartcolorstyle+xml"/>
  <Override PartName="/ppt/charts/colors714.xml" ContentType="application/vnd.ms-office.chartcolorstyle+xml"/>
  <Override PartName="/ppt/charts/colors715.xml" ContentType="application/vnd.ms-office.chartcolorstyle+xml"/>
  <Override PartName="/ppt/charts/colors716.xml" ContentType="application/vnd.ms-office.chartcolorstyle+xml"/>
  <Override PartName="/ppt/charts/colors717.xml" ContentType="application/vnd.ms-office.chartcolorstyle+xml"/>
  <Override PartName="/ppt/charts/colors718.xml" ContentType="application/vnd.ms-office.chartcolorstyle+xml"/>
  <Override PartName="/ppt/charts/colors719.xml" ContentType="application/vnd.ms-office.chartcolorstyle+xml"/>
  <Override PartName="/ppt/charts/colors72.xml" ContentType="application/vnd.ms-office.chartcolorstyle+xml"/>
  <Override PartName="/ppt/charts/colors720.xml" ContentType="application/vnd.ms-office.chartcolorstyle+xml"/>
  <Override PartName="/ppt/charts/colors721.xml" ContentType="application/vnd.ms-office.chartcolorstyle+xml"/>
  <Override PartName="/ppt/charts/colors722.xml" ContentType="application/vnd.ms-office.chartcolorstyle+xml"/>
  <Override PartName="/ppt/charts/colors723.xml" ContentType="application/vnd.ms-office.chartcolorstyle+xml"/>
  <Override PartName="/ppt/charts/colors724.xml" ContentType="application/vnd.ms-office.chartcolorstyle+xml"/>
  <Override PartName="/ppt/charts/colors725.xml" ContentType="application/vnd.ms-office.chartcolorstyle+xml"/>
  <Override PartName="/ppt/charts/colors726.xml" ContentType="application/vnd.ms-office.chartcolorstyle+xml"/>
  <Override PartName="/ppt/charts/colors727.xml" ContentType="application/vnd.ms-office.chartcolorstyle+xml"/>
  <Override PartName="/ppt/charts/colors728.xml" ContentType="application/vnd.ms-office.chartcolorstyle+xml"/>
  <Override PartName="/ppt/charts/colors729.xml" ContentType="application/vnd.ms-office.chartcolorstyle+xml"/>
  <Override PartName="/ppt/charts/colors73.xml" ContentType="application/vnd.ms-office.chartcolorstyle+xml"/>
  <Override PartName="/ppt/charts/colors730.xml" ContentType="application/vnd.ms-office.chartcolorstyle+xml"/>
  <Override PartName="/ppt/charts/colors731.xml" ContentType="application/vnd.ms-office.chartcolorstyle+xml"/>
  <Override PartName="/ppt/charts/colors732.xml" ContentType="application/vnd.ms-office.chartcolorstyle+xml"/>
  <Override PartName="/ppt/charts/colors733.xml" ContentType="application/vnd.ms-office.chartcolorstyle+xml"/>
  <Override PartName="/ppt/charts/colors734.xml" ContentType="application/vnd.ms-office.chartcolorstyle+xml"/>
  <Override PartName="/ppt/charts/colors735.xml" ContentType="application/vnd.ms-office.chartcolorstyle+xml"/>
  <Override PartName="/ppt/charts/colors736.xml" ContentType="application/vnd.ms-office.chartcolorstyle+xml"/>
  <Override PartName="/ppt/charts/colors737.xml" ContentType="application/vnd.ms-office.chartcolorstyle+xml"/>
  <Override PartName="/ppt/charts/colors738.xml" ContentType="application/vnd.ms-office.chartcolorstyle+xml"/>
  <Override PartName="/ppt/charts/colors739.xml" ContentType="application/vnd.ms-office.chartcolorstyle+xml"/>
  <Override PartName="/ppt/charts/colors74.xml" ContentType="application/vnd.ms-office.chartcolorstyle+xml"/>
  <Override PartName="/ppt/charts/colors740.xml" ContentType="application/vnd.ms-office.chartcolorstyle+xml"/>
  <Override PartName="/ppt/charts/colors741.xml" ContentType="application/vnd.ms-office.chartcolorstyle+xml"/>
  <Override PartName="/ppt/charts/colors742.xml" ContentType="application/vnd.ms-office.chartcolorstyle+xml"/>
  <Override PartName="/ppt/charts/colors743.xml" ContentType="application/vnd.ms-office.chartcolorstyle+xml"/>
  <Override PartName="/ppt/charts/colors744.xml" ContentType="application/vnd.ms-office.chartcolorstyle+xml"/>
  <Override PartName="/ppt/charts/colors745.xml" ContentType="application/vnd.ms-office.chartcolorstyle+xml"/>
  <Override PartName="/ppt/charts/colors746.xml" ContentType="application/vnd.ms-office.chartcolorstyle+xml"/>
  <Override PartName="/ppt/charts/colors747.xml" ContentType="application/vnd.ms-office.chartcolorstyle+xml"/>
  <Override PartName="/ppt/charts/colors748.xml" ContentType="application/vnd.ms-office.chartcolorstyle+xml"/>
  <Override PartName="/ppt/charts/colors749.xml" ContentType="application/vnd.ms-office.chartcolorstyle+xml"/>
  <Override PartName="/ppt/charts/colors75.xml" ContentType="application/vnd.ms-office.chartcolorstyle+xml"/>
  <Override PartName="/ppt/charts/colors750.xml" ContentType="application/vnd.ms-office.chartcolorstyle+xml"/>
  <Override PartName="/ppt/charts/colors751.xml" ContentType="application/vnd.ms-office.chartcolorstyle+xml"/>
  <Override PartName="/ppt/charts/colors752.xml" ContentType="application/vnd.ms-office.chartcolorstyle+xml"/>
  <Override PartName="/ppt/charts/colors753.xml" ContentType="application/vnd.ms-office.chartcolorstyle+xml"/>
  <Override PartName="/ppt/charts/colors754.xml" ContentType="application/vnd.ms-office.chartcolorstyle+xml"/>
  <Override PartName="/ppt/charts/colors755.xml" ContentType="application/vnd.ms-office.chartcolorstyle+xml"/>
  <Override PartName="/ppt/charts/colors756.xml" ContentType="application/vnd.ms-office.chartcolorstyle+xml"/>
  <Override PartName="/ppt/charts/colors757.xml" ContentType="application/vnd.ms-office.chartcolorstyle+xml"/>
  <Override PartName="/ppt/charts/colors758.xml" ContentType="application/vnd.ms-office.chartcolorstyle+xml"/>
  <Override PartName="/ppt/charts/colors759.xml" ContentType="application/vnd.ms-office.chartcolorstyle+xml"/>
  <Override PartName="/ppt/charts/colors76.xml" ContentType="application/vnd.ms-office.chartcolorstyle+xml"/>
  <Override PartName="/ppt/charts/colors760.xml" ContentType="application/vnd.ms-office.chartcolorstyle+xml"/>
  <Override PartName="/ppt/charts/colors761.xml" ContentType="application/vnd.ms-office.chartcolorstyle+xml"/>
  <Override PartName="/ppt/charts/colors762.xml" ContentType="application/vnd.ms-office.chartcolorstyle+xml"/>
  <Override PartName="/ppt/charts/colors763.xml" ContentType="application/vnd.ms-office.chartcolorstyle+xml"/>
  <Override PartName="/ppt/charts/colors764.xml" ContentType="application/vnd.ms-office.chartcolorstyle+xml"/>
  <Override PartName="/ppt/charts/colors765.xml" ContentType="application/vnd.ms-office.chartcolorstyle+xml"/>
  <Override PartName="/ppt/charts/colors766.xml" ContentType="application/vnd.ms-office.chartcolorstyle+xml"/>
  <Override PartName="/ppt/charts/colors767.xml" ContentType="application/vnd.ms-office.chartcolorstyle+xml"/>
  <Override PartName="/ppt/charts/colors768.xml" ContentType="application/vnd.ms-office.chartcolorstyle+xml"/>
  <Override PartName="/ppt/charts/colors769.xml" ContentType="application/vnd.ms-office.chartcolorstyle+xml"/>
  <Override PartName="/ppt/charts/colors77.xml" ContentType="application/vnd.ms-office.chartcolorstyle+xml"/>
  <Override PartName="/ppt/charts/colors770.xml" ContentType="application/vnd.ms-office.chartcolorstyle+xml"/>
  <Override PartName="/ppt/charts/colors771.xml" ContentType="application/vnd.ms-office.chartcolorstyle+xml"/>
  <Override PartName="/ppt/charts/colors772.xml" ContentType="application/vnd.ms-office.chartcolorstyle+xml"/>
  <Override PartName="/ppt/charts/colors773.xml" ContentType="application/vnd.ms-office.chartcolorstyle+xml"/>
  <Override PartName="/ppt/charts/colors774.xml" ContentType="application/vnd.ms-office.chartcolorstyle+xml"/>
  <Override PartName="/ppt/charts/colors775.xml" ContentType="application/vnd.ms-office.chartcolorstyle+xml"/>
  <Override PartName="/ppt/charts/colors776.xml" ContentType="application/vnd.ms-office.chartcolorstyle+xml"/>
  <Override PartName="/ppt/charts/colors777.xml" ContentType="application/vnd.ms-office.chartcolorstyle+xml"/>
  <Override PartName="/ppt/charts/colors778.xml" ContentType="application/vnd.ms-office.chartcolorstyle+xml"/>
  <Override PartName="/ppt/charts/colors779.xml" ContentType="application/vnd.ms-office.chartcolorstyle+xml"/>
  <Override PartName="/ppt/charts/colors78.xml" ContentType="application/vnd.ms-office.chartcolorstyle+xml"/>
  <Override PartName="/ppt/charts/colors780.xml" ContentType="application/vnd.ms-office.chartcolorstyle+xml"/>
  <Override PartName="/ppt/charts/colors781.xml" ContentType="application/vnd.ms-office.chartcolorstyle+xml"/>
  <Override PartName="/ppt/charts/colors782.xml" ContentType="application/vnd.ms-office.chartcolorstyle+xml"/>
  <Override PartName="/ppt/charts/colors783.xml" ContentType="application/vnd.ms-office.chartcolorstyle+xml"/>
  <Override PartName="/ppt/charts/colors784.xml" ContentType="application/vnd.ms-office.chartcolorstyle+xml"/>
  <Override PartName="/ppt/charts/colors785.xml" ContentType="application/vnd.ms-office.chartcolorstyle+xml"/>
  <Override PartName="/ppt/charts/colors786.xml" ContentType="application/vnd.ms-office.chartcolorstyle+xml"/>
  <Override PartName="/ppt/charts/colors787.xml" ContentType="application/vnd.ms-office.chartcolorstyle+xml"/>
  <Override PartName="/ppt/charts/colors788.xml" ContentType="application/vnd.ms-office.chartcolorstyle+xml"/>
  <Override PartName="/ppt/charts/colors789.xml" ContentType="application/vnd.ms-office.chartcolorstyle+xml"/>
  <Override PartName="/ppt/charts/colors79.xml" ContentType="application/vnd.ms-office.chartcolorstyle+xml"/>
  <Override PartName="/ppt/charts/colors790.xml" ContentType="application/vnd.ms-office.chartcolorstyle+xml"/>
  <Override PartName="/ppt/charts/colors791.xml" ContentType="application/vnd.ms-office.chartcolorstyle+xml"/>
  <Override PartName="/ppt/charts/colors792.xml" ContentType="application/vnd.ms-office.chartcolorstyle+xml"/>
  <Override PartName="/ppt/charts/colors793.xml" ContentType="application/vnd.ms-office.chartcolorstyle+xml"/>
  <Override PartName="/ppt/charts/colors794.xml" ContentType="application/vnd.ms-office.chartcolorstyle+xml"/>
  <Override PartName="/ppt/charts/colors795.xml" ContentType="application/vnd.ms-office.chartcolorstyle+xml"/>
  <Override PartName="/ppt/charts/colors796.xml" ContentType="application/vnd.ms-office.chartcolorstyle+xml"/>
  <Override PartName="/ppt/charts/colors797.xml" ContentType="application/vnd.ms-office.chartcolorstyle+xml"/>
  <Override PartName="/ppt/charts/colors798.xml" ContentType="application/vnd.ms-office.chartcolorstyle+xml"/>
  <Override PartName="/ppt/charts/colors799.xml" ContentType="application/vnd.ms-office.chartcolorstyle+xml"/>
  <Override PartName="/ppt/charts/colors8.xml" ContentType="application/vnd.ms-office.chartcolorstyle+xml"/>
  <Override PartName="/ppt/charts/colors80.xml" ContentType="application/vnd.ms-office.chartcolorstyle+xml"/>
  <Override PartName="/ppt/charts/colors800.xml" ContentType="application/vnd.ms-office.chartcolorstyle+xml"/>
  <Override PartName="/ppt/charts/colors801.xml" ContentType="application/vnd.ms-office.chartcolorstyle+xml"/>
  <Override PartName="/ppt/charts/colors802.xml" ContentType="application/vnd.ms-office.chartcolorstyle+xml"/>
  <Override PartName="/ppt/charts/colors803.xml" ContentType="application/vnd.ms-office.chartcolorstyle+xml"/>
  <Override PartName="/ppt/charts/colors804.xml" ContentType="application/vnd.ms-office.chartcolorstyle+xml"/>
  <Override PartName="/ppt/charts/colors805.xml" ContentType="application/vnd.ms-office.chartcolorstyle+xml"/>
  <Override PartName="/ppt/charts/colors806.xml" ContentType="application/vnd.ms-office.chartcolorstyle+xml"/>
  <Override PartName="/ppt/charts/colors807.xml" ContentType="application/vnd.ms-office.chartcolorstyle+xml"/>
  <Override PartName="/ppt/charts/colors808.xml" ContentType="application/vnd.ms-office.chartcolorstyle+xml"/>
  <Override PartName="/ppt/charts/colors809.xml" ContentType="application/vnd.ms-office.chartcolorstyle+xml"/>
  <Override PartName="/ppt/charts/colors81.xml" ContentType="application/vnd.ms-office.chartcolorstyle+xml"/>
  <Override PartName="/ppt/charts/colors810.xml" ContentType="application/vnd.ms-office.chartcolorstyle+xml"/>
  <Override PartName="/ppt/charts/colors811.xml" ContentType="application/vnd.ms-office.chartcolorstyle+xml"/>
  <Override PartName="/ppt/charts/colors812.xml" ContentType="application/vnd.ms-office.chartcolorstyle+xml"/>
  <Override PartName="/ppt/charts/colors813.xml" ContentType="application/vnd.ms-office.chartcolorstyle+xml"/>
  <Override PartName="/ppt/charts/colors814.xml" ContentType="application/vnd.ms-office.chartcolorstyle+xml"/>
  <Override PartName="/ppt/charts/colors815.xml" ContentType="application/vnd.ms-office.chartcolorstyle+xml"/>
  <Override PartName="/ppt/charts/colors816.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691.xml" ContentType="application/vnd.ms-office.chartstyle+xml"/>
  <Override PartName="/ppt/charts/style692.xml" ContentType="application/vnd.ms-office.chartstyle+xml"/>
  <Override PartName="/ppt/charts/style693.xml" ContentType="application/vnd.ms-office.chartstyle+xml"/>
  <Override PartName="/ppt/charts/style694.xml" ContentType="application/vnd.ms-office.chartstyle+xml"/>
  <Override PartName="/ppt/charts/style695.xml" ContentType="application/vnd.ms-office.chartstyle+xml"/>
  <Override PartName="/ppt/charts/style696.xml" ContentType="application/vnd.ms-office.chartstyle+xml"/>
  <Override PartName="/ppt/charts/style697.xml" ContentType="application/vnd.ms-office.chartstyle+xml"/>
  <Override PartName="/ppt/charts/style698.xml" ContentType="application/vnd.ms-office.chartstyle+xml"/>
  <Override PartName="/ppt/charts/style699.xml" ContentType="application/vnd.ms-office.chartstyle+xml"/>
  <Override PartName="/ppt/charts/style7.xml" ContentType="application/vnd.ms-office.chartstyle+xml"/>
  <Override PartName="/ppt/charts/style70.xml" ContentType="application/vnd.ms-office.chartstyle+xml"/>
  <Override PartName="/ppt/charts/style700.xml" ContentType="application/vnd.ms-office.chartstyle+xml"/>
  <Override PartName="/ppt/charts/style701.xml" ContentType="application/vnd.ms-office.chartstyle+xml"/>
  <Override PartName="/ppt/charts/style702.xml" ContentType="application/vnd.ms-office.chartstyle+xml"/>
  <Override PartName="/ppt/charts/style703.xml" ContentType="application/vnd.ms-office.chartstyle+xml"/>
  <Override PartName="/ppt/charts/style704.xml" ContentType="application/vnd.ms-office.chartstyle+xml"/>
  <Override PartName="/ppt/charts/style705.xml" ContentType="application/vnd.ms-office.chartstyle+xml"/>
  <Override PartName="/ppt/charts/style706.xml" ContentType="application/vnd.ms-office.chartstyle+xml"/>
  <Override PartName="/ppt/charts/style707.xml" ContentType="application/vnd.ms-office.chartstyle+xml"/>
  <Override PartName="/ppt/charts/style708.xml" ContentType="application/vnd.ms-office.chartstyle+xml"/>
  <Override PartName="/ppt/charts/style709.xml" ContentType="application/vnd.ms-office.chartstyle+xml"/>
  <Override PartName="/ppt/charts/style71.xml" ContentType="application/vnd.ms-office.chartstyle+xml"/>
  <Override PartName="/ppt/charts/style710.xml" ContentType="application/vnd.ms-office.chartstyle+xml"/>
  <Override PartName="/ppt/charts/style711.xml" ContentType="application/vnd.ms-office.chartstyle+xml"/>
  <Override PartName="/ppt/charts/style712.xml" ContentType="application/vnd.ms-office.chartstyle+xml"/>
  <Override PartName="/ppt/charts/style713.xml" ContentType="application/vnd.ms-office.chartstyle+xml"/>
  <Override PartName="/ppt/charts/style714.xml" ContentType="application/vnd.ms-office.chartstyle+xml"/>
  <Override PartName="/ppt/charts/style715.xml" ContentType="application/vnd.ms-office.chartstyle+xml"/>
  <Override PartName="/ppt/charts/style716.xml" ContentType="application/vnd.ms-office.chartstyle+xml"/>
  <Override PartName="/ppt/charts/style717.xml" ContentType="application/vnd.ms-office.chartstyle+xml"/>
  <Override PartName="/ppt/charts/style718.xml" ContentType="application/vnd.ms-office.chartstyle+xml"/>
  <Override PartName="/ppt/charts/style719.xml" ContentType="application/vnd.ms-office.chartstyle+xml"/>
  <Override PartName="/ppt/charts/style72.xml" ContentType="application/vnd.ms-office.chartstyle+xml"/>
  <Override PartName="/ppt/charts/style720.xml" ContentType="application/vnd.ms-office.chartstyle+xml"/>
  <Override PartName="/ppt/charts/style721.xml" ContentType="application/vnd.ms-office.chartstyle+xml"/>
  <Override PartName="/ppt/charts/style722.xml" ContentType="application/vnd.ms-office.chartstyle+xml"/>
  <Override PartName="/ppt/charts/style723.xml" ContentType="application/vnd.ms-office.chartstyle+xml"/>
  <Override PartName="/ppt/charts/style724.xml" ContentType="application/vnd.ms-office.chartstyle+xml"/>
  <Override PartName="/ppt/charts/style725.xml" ContentType="application/vnd.ms-office.chartstyle+xml"/>
  <Override PartName="/ppt/charts/style726.xml" ContentType="application/vnd.ms-office.chartstyle+xml"/>
  <Override PartName="/ppt/charts/style727.xml" ContentType="application/vnd.ms-office.chartstyle+xml"/>
  <Override PartName="/ppt/charts/style728.xml" ContentType="application/vnd.ms-office.chartstyle+xml"/>
  <Override PartName="/ppt/charts/style729.xml" ContentType="application/vnd.ms-office.chartstyle+xml"/>
  <Override PartName="/ppt/charts/style73.xml" ContentType="application/vnd.ms-office.chartstyle+xml"/>
  <Override PartName="/ppt/charts/style730.xml" ContentType="application/vnd.ms-office.chartstyle+xml"/>
  <Override PartName="/ppt/charts/style731.xml" ContentType="application/vnd.ms-office.chartstyle+xml"/>
  <Override PartName="/ppt/charts/style732.xml" ContentType="application/vnd.ms-office.chartstyle+xml"/>
  <Override PartName="/ppt/charts/style733.xml" ContentType="application/vnd.ms-office.chartstyle+xml"/>
  <Override PartName="/ppt/charts/style734.xml" ContentType="application/vnd.ms-office.chartstyle+xml"/>
  <Override PartName="/ppt/charts/style735.xml" ContentType="application/vnd.ms-office.chartstyle+xml"/>
  <Override PartName="/ppt/charts/style736.xml" ContentType="application/vnd.ms-office.chartstyle+xml"/>
  <Override PartName="/ppt/charts/style737.xml" ContentType="application/vnd.ms-office.chartstyle+xml"/>
  <Override PartName="/ppt/charts/style738.xml" ContentType="application/vnd.ms-office.chartstyle+xml"/>
  <Override PartName="/ppt/charts/style739.xml" ContentType="application/vnd.ms-office.chartstyle+xml"/>
  <Override PartName="/ppt/charts/style74.xml" ContentType="application/vnd.ms-office.chartstyle+xml"/>
  <Override PartName="/ppt/charts/style740.xml" ContentType="application/vnd.ms-office.chartstyle+xml"/>
  <Override PartName="/ppt/charts/style741.xml" ContentType="application/vnd.ms-office.chartstyle+xml"/>
  <Override PartName="/ppt/charts/style742.xml" ContentType="application/vnd.ms-office.chartstyle+xml"/>
  <Override PartName="/ppt/charts/style743.xml" ContentType="application/vnd.ms-office.chartstyle+xml"/>
  <Override PartName="/ppt/charts/style744.xml" ContentType="application/vnd.ms-office.chartstyle+xml"/>
  <Override PartName="/ppt/charts/style745.xml" ContentType="application/vnd.ms-office.chartstyle+xml"/>
  <Override PartName="/ppt/charts/style746.xml" ContentType="application/vnd.ms-office.chartstyle+xml"/>
  <Override PartName="/ppt/charts/style747.xml" ContentType="application/vnd.ms-office.chartstyle+xml"/>
  <Override PartName="/ppt/charts/style748.xml" ContentType="application/vnd.ms-office.chartstyle+xml"/>
  <Override PartName="/ppt/charts/style749.xml" ContentType="application/vnd.ms-office.chartstyle+xml"/>
  <Override PartName="/ppt/charts/style75.xml" ContentType="application/vnd.ms-office.chartstyle+xml"/>
  <Override PartName="/ppt/charts/style750.xml" ContentType="application/vnd.ms-office.chartstyle+xml"/>
  <Override PartName="/ppt/charts/style751.xml" ContentType="application/vnd.ms-office.chartstyle+xml"/>
  <Override PartName="/ppt/charts/style752.xml" ContentType="application/vnd.ms-office.chartstyle+xml"/>
  <Override PartName="/ppt/charts/style753.xml" ContentType="application/vnd.ms-office.chartstyle+xml"/>
  <Override PartName="/ppt/charts/style754.xml" ContentType="application/vnd.ms-office.chartstyle+xml"/>
  <Override PartName="/ppt/charts/style755.xml" ContentType="application/vnd.ms-office.chartstyle+xml"/>
  <Override PartName="/ppt/charts/style756.xml" ContentType="application/vnd.ms-office.chartstyle+xml"/>
  <Override PartName="/ppt/charts/style757.xml" ContentType="application/vnd.ms-office.chartstyle+xml"/>
  <Override PartName="/ppt/charts/style758.xml" ContentType="application/vnd.ms-office.chartstyle+xml"/>
  <Override PartName="/ppt/charts/style759.xml" ContentType="application/vnd.ms-office.chartstyle+xml"/>
  <Override PartName="/ppt/charts/style76.xml" ContentType="application/vnd.ms-office.chartstyle+xml"/>
  <Override PartName="/ppt/charts/style760.xml" ContentType="application/vnd.ms-office.chartstyle+xml"/>
  <Override PartName="/ppt/charts/style761.xml" ContentType="application/vnd.ms-office.chartstyle+xml"/>
  <Override PartName="/ppt/charts/style762.xml" ContentType="application/vnd.ms-office.chartstyle+xml"/>
  <Override PartName="/ppt/charts/style763.xml" ContentType="application/vnd.ms-office.chartstyle+xml"/>
  <Override PartName="/ppt/charts/style764.xml" ContentType="application/vnd.ms-office.chartstyle+xml"/>
  <Override PartName="/ppt/charts/style765.xml" ContentType="application/vnd.ms-office.chartstyle+xml"/>
  <Override PartName="/ppt/charts/style766.xml" ContentType="application/vnd.ms-office.chartstyle+xml"/>
  <Override PartName="/ppt/charts/style767.xml" ContentType="application/vnd.ms-office.chartstyle+xml"/>
  <Override PartName="/ppt/charts/style768.xml" ContentType="application/vnd.ms-office.chartstyle+xml"/>
  <Override PartName="/ppt/charts/style769.xml" ContentType="application/vnd.ms-office.chartstyle+xml"/>
  <Override PartName="/ppt/charts/style77.xml" ContentType="application/vnd.ms-office.chartstyle+xml"/>
  <Override PartName="/ppt/charts/style770.xml" ContentType="application/vnd.ms-office.chartstyle+xml"/>
  <Override PartName="/ppt/charts/style771.xml" ContentType="application/vnd.ms-office.chartstyle+xml"/>
  <Override PartName="/ppt/charts/style772.xml" ContentType="application/vnd.ms-office.chartstyle+xml"/>
  <Override PartName="/ppt/charts/style773.xml" ContentType="application/vnd.ms-office.chartstyle+xml"/>
  <Override PartName="/ppt/charts/style774.xml" ContentType="application/vnd.ms-office.chartstyle+xml"/>
  <Override PartName="/ppt/charts/style775.xml" ContentType="application/vnd.ms-office.chartstyle+xml"/>
  <Override PartName="/ppt/charts/style776.xml" ContentType="application/vnd.ms-office.chartstyle+xml"/>
  <Override PartName="/ppt/charts/style777.xml" ContentType="application/vnd.ms-office.chartstyle+xml"/>
  <Override PartName="/ppt/charts/style778.xml" ContentType="application/vnd.ms-office.chartstyle+xml"/>
  <Override PartName="/ppt/charts/style779.xml" ContentType="application/vnd.ms-office.chartstyle+xml"/>
  <Override PartName="/ppt/charts/style78.xml" ContentType="application/vnd.ms-office.chartstyle+xml"/>
  <Override PartName="/ppt/charts/style780.xml" ContentType="application/vnd.ms-office.chartstyle+xml"/>
  <Override PartName="/ppt/charts/style781.xml" ContentType="application/vnd.ms-office.chartstyle+xml"/>
  <Override PartName="/ppt/charts/style782.xml" ContentType="application/vnd.ms-office.chartstyle+xml"/>
  <Override PartName="/ppt/charts/style783.xml" ContentType="application/vnd.ms-office.chartstyle+xml"/>
  <Override PartName="/ppt/charts/style784.xml" ContentType="application/vnd.ms-office.chartstyle+xml"/>
  <Override PartName="/ppt/charts/style785.xml" ContentType="application/vnd.ms-office.chartstyle+xml"/>
  <Override PartName="/ppt/charts/style786.xml" ContentType="application/vnd.ms-office.chartstyle+xml"/>
  <Override PartName="/ppt/charts/style787.xml" ContentType="application/vnd.ms-office.chartstyle+xml"/>
  <Override PartName="/ppt/charts/style788.xml" ContentType="application/vnd.ms-office.chartstyle+xml"/>
  <Override PartName="/ppt/charts/style789.xml" ContentType="application/vnd.ms-office.chartstyle+xml"/>
  <Override PartName="/ppt/charts/style79.xml" ContentType="application/vnd.ms-office.chartstyle+xml"/>
  <Override PartName="/ppt/charts/style790.xml" ContentType="application/vnd.ms-office.chartstyle+xml"/>
  <Override PartName="/ppt/charts/style791.xml" ContentType="application/vnd.ms-office.chartstyle+xml"/>
  <Override PartName="/ppt/charts/style792.xml" ContentType="application/vnd.ms-office.chartstyle+xml"/>
  <Override PartName="/ppt/charts/style793.xml" ContentType="application/vnd.ms-office.chartstyle+xml"/>
  <Override PartName="/ppt/charts/style794.xml" ContentType="application/vnd.ms-office.chartstyle+xml"/>
  <Override PartName="/ppt/charts/style795.xml" ContentType="application/vnd.ms-office.chartstyle+xml"/>
  <Override PartName="/ppt/charts/style796.xml" ContentType="application/vnd.ms-office.chartstyle+xml"/>
  <Override PartName="/ppt/charts/style797.xml" ContentType="application/vnd.ms-office.chartstyle+xml"/>
  <Override PartName="/ppt/charts/style798.xml" ContentType="application/vnd.ms-office.chartstyle+xml"/>
  <Override PartName="/ppt/charts/style799.xml" ContentType="application/vnd.ms-office.chartstyle+xml"/>
  <Override PartName="/ppt/charts/style8.xml" ContentType="application/vnd.ms-office.chartstyle+xml"/>
  <Override PartName="/ppt/charts/style80.xml" ContentType="application/vnd.ms-office.chartstyle+xml"/>
  <Override PartName="/ppt/charts/style800.xml" ContentType="application/vnd.ms-office.chartstyle+xml"/>
  <Override PartName="/ppt/charts/style801.xml" ContentType="application/vnd.ms-office.chartstyle+xml"/>
  <Override PartName="/ppt/charts/style802.xml" ContentType="application/vnd.ms-office.chartstyle+xml"/>
  <Override PartName="/ppt/charts/style803.xml" ContentType="application/vnd.ms-office.chartstyle+xml"/>
  <Override PartName="/ppt/charts/style804.xml" ContentType="application/vnd.ms-office.chartstyle+xml"/>
  <Override PartName="/ppt/charts/style805.xml" ContentType="application/vnd.ms-office.chartstyle+xml"/>
  <Override PartName="/ppt/charts/style806.xml" ContentType="application/vnd.ms-office.chartstyle+xml"/>
  <Override PartName="/ppt/charts/style807.xml" ContentType="application/vnd.ms-office.chartstyle+xml"/>
  <Override PartName="/ppt/charts/style808.xml" ContentType="application/vnd.ms-office.chartstyle+xml"/>
  <Override PartName="/ppt/charts/style809.xml" ContentType="application/vnd.ms-office.chartstyle+xml"/>
  <Override PartName="/ppt/charts/style81.xml" ContentType="application/vnd.ms-office.chartstyle+xml"/>
  <Override PartName="/ppt/charts/style810.xml" ContentType="application/vnd.ms-office.chartstyle+xml"/>
  <Override PartName="/ppt/charts/style811.xml" ContentType="application/vnd.ms-office.chartstyle+xml"/>
  <Override PartName="/ppt/charts/style812.xml" ContentType="application/vnd.ms-office.chartstyle+xml"/>
  <Override PartName="/ppt/charts/style813.xml" ContentType="application/vnd.ms-office.chartstyle+xml"/>
  <Override PartName="/ppt/charts/style814.xml" ContentType="application/vnd.ms-office.chartstyle+xml"/>
  <Override PartName="/ppt/charts/style815.xml" ContentType="application/vnd.ms-office.chartstyle+xml"/>
  <Override PartName="/ppt/charts/style816.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1.xml" ContentType="application/vnd.openxmlformats-officedocument.themeOverride+xml"/>
  <Override PartName="/ppt/theme/themeOverride102.xml" ContentType="application/vnd.openxmlformats-officedocument.themeOverride+xml"/>
  <Override PartName="/ppt/theme/themeOverride103.xml" ContentType="application/vnd.openxmlformats-officedocument.themeOverride+xml"/>
  <Override PartName="/ppt/theme/themeOverride104.xml" ContentType="application/vnd.openxmlformats-officedocument.themeOverride+xml"/>
  <Override PartName="/ppt/theme/themeOverride105.xml" ContentType="application/vnd.openxmlformats-officedocument.themeOverride+xml"/>
  <Override PartName="/ppt/theme/themeOverride106.xml" ContentType="application/vnd.openxmlformats-officedocument.themeOverride+xml"/>
  <Override PartName="/ppt/theme/themeOverride107.xml" ContentType="application/vnd.openxmlformats-officedocument.themeOverride+xml"/>
  <Override PartName="/ppt/theme/themeOverride108.xml" ContentType="application/vnd.openxmlformats-officedocument.themeOverride+xml"/>
  <Override PartName="/ppt/theme/themeOverride10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1.xml" ContentType="application/vnd.openxmlformats-officedocument.themeOverride+xml"/>
  <Override PartName="/ppt/theme/themeOverride112.xml" ContentType="application/vnd.openxmlformats-officedocument.themeOverride+xml"/>
  <Override PartName="/ppt/theme/themeOverride113.xml" ContentType="application/vnd.openxmlformats-officedocument.themeOverride+xml"/>
  <Override PartName="/ppt/theme/themeOverride114.xml" ContentType="application/vnd.openxmlformats-officedocument.themeOverride+xml"/>
  <Override PartName="/ppt/theme/themeOverride115.xml" ContentType="application/vnd.openxmlformats-officedocument.themeOverride+xml"/>
  <Override PartName="/ppt/theme/themeOverride116.xml" ContentType="application/vnd.openxmlformats-officedocument.themeOverride+xml"/>
  <Override PartName="/ppt/theme/themeOverride117.xml" ContentType="application/vnd.openxmlformats-officedocument.themeOverride+xml"/>
  <Override PartName="/ppt/theme/themeOverride118.xml" ContentType="application/vnd.openxmlformats-officedocument.themeOverride+xml"/>
  <Override PartName="/ppt/theme/themeOverride11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1.xml" ContentType="application/vnd.openxmlformats-officedocument.themeOverride+xml"/>
  <Override PartName="/ppt/theme/themeOverride122.xml" ContentType="application/vnd.openxmlformats-officedocument.themeOverride+xml"/>
  <Override PartName="/ppt/theme/themeOverride123.xml" ContentType="application/vnd.openxmlformats-officedocument.themeOverride+xml"/>
  <Override PartName="/ppt/theme/themeOverride124.xml" ContentType="application/vnd.openxmlformats-officedocument.themeOverride+xml"/>
  <Override PartName="/ppt/theme/themeOverride125.xml" ContentType="application/vnd.openxmlformats-officedocument.themeOverride+xml"/>
  <Override PartName="/ppt/theme/themeOverride126.xml" ContentType="application/vnd.openxmlformats-officedocument.themeOverride+xml"/>
  <Override PartName="/ppt/theme/themeOverride127.xml" ContentType="application/vnd.openxmlformats-officedocument.themeOverride+xml"/>
  <Override PartName="/ppt/theme/themeOverride128.xml" ContentType="application/vnd.openxmlformats-officedocument.themeOverride+xml"/>
  <Override PartName="/ppt/theme/themeOverride12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1.xml" ContentType="application/vnd.openxmlformats-officedocument.themeOverride+xml"/>
  <Override PartName="/ppt/theme/themeOverride132.xml" ContentType="application/vnd.openxmlformats-officedocument.themeOverride+xml"/>
  <Override PartName="/ppt/theme/themeOverride133.xml" ContentType="application/vnd.openxmlformats-officedocument.themeOverride+xml"/>
  <Override PartName="/ppt/theme/themeOverride134.xml" ContentType="application/vnd.openxmlformats-officedocument.themeOverride+xml"/>
  <Override PartName="/ppt/theme/themeOverride135.xml" ContentType="application/vnd.openxmlformats-officedocument.themeOverride+xml"/>
  <Override PartName="/ppt/theme/themeOverride136.xml" ContentType="application/vnd.openxmlformats-officedocument.themeOverride+xml"/>
  <Override PartName="/ppt/theme/themeOverride137.xml" ContentType="application/vnd.openxmlformats-officedocument.themeOverride+xml"/>
  <Override PartName="/ppt/theme/themeOverride138.xml" ContentType="application/vnd.openxmlformats-officedocument.themeOverride+xml"/>
  <Override PartName="/ppt/theme/themeOverride13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1.xml" ContentType="application/vnd.openxmlformats-officedocument.themeOverride+xml"/>
  <Override PartName="/ppt/theme/themeOverride142.xml" ContentType="application/vnd.openxmlformats-officedocument.themeOverride+xml"/>
  <Override PartName="/ppt/theme/themeOverride143.xml" ContentType="application/vnd.openxmlformats-officedocument.themeOverride+xml"/>
  <Override PartName="/ppt/theme/themeOverride144.xml" ContentType="application/vnd.openxmlformats-officedocument.themeOverride+xml"/>
  <Override PartName="/ppt/theme/themeOverride145.xml" ContentType="application/vnd.openxmlformats-officedocument.themeOverride+xml"/>
  <Override PartName="/ppt/theme/themeOverride146.xml" ContentType="application/vnd.openxmlformats-officedocument.themeOverride+xml"/>
  <Override PartName="/ppt/theme/themeOverride147.xml" ContentType="application/vnd.openxmlformats-officedocument.themeOverride+xml"/>
  <Override PartName="/ppt/theme/themeOverride148.xml" ContentType="application/vnd.openxmlformats-officedocument.themeOverride+xml"/>
  <Override PartName="/ppt/theme/themeOverride14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1.xml" ContentType="application/vnd.openxmlformats-officedocument.themeOverride+xml"/>
  <Override PartName="/ppt/theme/themeOverride152.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1.xml" ContentType="application/vnd.openxmlformats-officedocument.themeOverride+xml"/>
  <Override PartName="/ppt/theme/themeOverride92.xml" ContentType="application/vnd.openxmlformats-officedocument.themeOverride+xml"/>
  <Override PartName="/ppt/theme/themeOverride93.xml" ContentType="application/vnd.openxmlformats-officedocument.themeOverride+xml"/>
  <Override PartName="/ppt/theme/themeOverride94.xml" ContentType="application/vnd.openxmlformats-officedocument.themeOverride+xml"/>
  <Override PartName="/ppt/theme/themeOverride95.xml" ContentType="application/vnd.openxmlformats-officedocument.themeOverride+xml"/>
  <Override PartName="/ppt/theme/themeOverride96.xml" ContentType="application/vnd.openxmlformats-officedocument.themeOverride+xml"/>
  <Override PartName="/ppt/theme/themeOverride97.xml" ContentType="application/vnd.openxmlformats-officedocument.themeOverride+xml"/>
  <Override PartName="/ppt/theme/themeOverride98.xml" ContentType="application/vnd.openxmlformats-officedocument.themeOverride+xml"/>
  <Override PartName="/ppt/theme/themeOverride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193"/>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 id="2147475995" r:id="rId834"/>
    <p:sldId id="2147475996" r:id="rId835"/>
    <p:sldId id="2147475997" r:id="rId836"/>
    <p:sldId id="2147475998" r:id="rId837"/>
    <p:sldId id="2147475999" r:id="rId838"/>
    <p:sldId id="2147476000" r:id="rId839"/>
    <p:sldId id="2147476001" r:id="rId840"/>
    <p:sldId id="2147476002" r:id="rId841"/>
    <p:sldId id="2147476003" r:id="rId842"/>
    <p:sldId id="2147476004" r:id="rId843"/>
    <p:sldId id="2147476005" r:id="rId844"/>
    <p:sldId id="2147476006" r:id="rId845"/>
    <p:sldId id="2147476007" r:id="rId846"/>
    <p:sldId id="2147476008" r:id="rId847"/>
    <p:sldId id="2147476009" r:id="rId848"/>
    <p:sldId id="2147476010" r:id="rId849"/>
    <p:sldId id="2147476011" r:id="rId850"/>
    <p:sldId id="2147476012" r:id="rId851"/>
    <p:sldId id="2147476013" r:id="rId852"/>
    <p:sldId id="2147476014" r:id="rId853"/>
    <p:sldId id="2147476015" r:id="rId854"/>
    <p:sldId id="2147476016" r:id="rId855"/>
    <p:sldId id="2147476017" r:id="rId856"/>
    <p:sldId id="2147476018" r:id="rId857"/>
    <p:sldId id="2147476019" r:id="rId858"/>
    <p:sldId id="2147476020" r:id="rId859"/>
    <p:sldId id="2147476021" r:id="rId860"/>
    <p:sldId id="2147476022" r:id="rId861"/>
    <p:sldId id="2147476023" r:id="rId862"/>
    <p:sldId id="2147476024" r:id="rId863"/>
    <p:sldId id="2147476025" r:id="rId864"/>
    <p:sldId id="2147476026" r:id="rId865"/>
    <p:sldId id="2147476027" r:id="rId866"/>
    <p:sldId id="2147476028" r:id="rId867"/>
    <p:sldId id="2147476029" r:id="rId868"/>
    <p:sldId id="2147476030" r:id="rId869"/>
    <p:sldId id="2147476031" r:id="rId870"/>
    <p:sldId id="2147476032" r:id="rId871"/>
    <p:sldId id="2147476033" r:id="rId872"/>
    <p:sldId id="2147476034" r:id="rId873"/>
    <p:sldId id="2147476035" r:id="rId874"/>
    <p:sldId id="2147476036" r:id="rId875"/>
    <p:sldId id="2147476037" r:id="rId876"/>
    <p:sldId id="2147476038" r:id="rId877"/>
    <p:sldId id="2147476039" r:id="rId878"/>
    <p:sldId id="2147476040" r:id="rId879"/>
    <p:sldId id="2147476041" r:id="rId880"/>
    <p:sldId id="2147476042" r:id="rId881"/>
    <p:sldId id="2147476043" r:id="rId882"/>
    <p:sldId id="2147476044" r:id="rId883"/>
    <p:sldId id="2147476045" r:id="rId884"/>
    <p:sldId id="2147476046" r:id="rId885"/>
    <p:sldId id="2147476047" r:id="rId886"/>
    <p:sldId id="2147476048" r:id="rId887"/>
    <p:sldId id="2147476049" r:id="rId888"/>
    <p:sldId id="2147476050" r:id="rId889"/>
    <p:sldId id="2147476051" r:id="rId890"/>
    <p:sldId id="2147476052" r:id="rId891"/>
    <p:sldId id="2147476053" r:id="rId892"/>
    <p:sldId id="2147476054" r:id="rId893"/>
    <p:sldId id="2147476055" r:id="rId894"/>
    <p:sldId id="2147476056" r:id="rId895"/>
    <p:sldId id="2147476057" r:id="rId896"/>
    <p:sldId id="2147476058" r:id="rId897"/>
    <p:sldId id="2147476059" r:id="rId898"/>
    <p:sldId id="2147476060" r:id="rId899"/>
    <p:sldId id="2147476061" r:id="rId900"/>
    <p:sldId id="2147476062" r:id="rId901"/>
    <p:sldId id="2147476063" r:id="rId902"/>
    <p:sldId id="2147476064" r:id="rId903"/>
    <p:sldId id="2147476065" r:id="rId904"/>
    <p:sldId id="2147476066" r:id="rId905"/>
    <p:sldId id="2147476067" r:id="rId906"/>
    <p:sldId id="2147476068" r:id="rId907"/>
    <p:sldId id="2147476069" r:id="rId908"/>
    <p:sldId id="2147476070" r:id="rId909"/>
    <p:sldId id="2147476071" r:id="rId910"/>
    <p:sldId id="2147476072" r:id="rId911"/>
    <p:sldId id="2147476073" r:id="rId912"/>
    <p:sldId id="2147476074" r:id="rId913"/>
    <p:sldId id="2147476075" r:id="rId914"/>
    <p:sldId id="2147476076" r:id="rId915"/>
    <p:sldId id="2147476077" r:id="rId916"/>
    <p:sldId id="2147476078" r:id="rId917"/>
    <p:sldId id="2147476079" r:id="rId918"/>
    <p:sldId id="2147476080" r:id="rId919"/>
    <p:sldId id="2147476081" r:id="rId920"/>
    <p:sldId id="2147476082" r:id="rId921"/>
    <p:sldId id="2147476083" r:id="rId922"/>
    <p:sldId id="2147476084" r:id="rId923"/>
    <p:sldId id="2147476085" r:id="rId924"/>
    <p:sldId id="2147476086" r:id="rId925"/>
    <p:sldId id="2147476087" r:id="rId926"/>
    <p:sldId id="2147476088" r:id="rId927"/>
    <p:sldId id="2147476089" r:id="rId928"/>
    <p:sldId id="2147476090" r:id="rId929"/>
    <p:sldId id="2147476091" r:id="rId930"/>
    <p:sldId id="2147476092" r:id="rId931"/>
    <p:sldId id="2147476093" r:id="rId932"/>
    <p:sldId id="2147476094" r:id="rId933"/>
    <p:sldId id="2147476095" r:id="rId934"/>
    <p:sldId id="2147476096" r:id="rId935"/>
    <p:sldId id="2147476097" r:id="rId936"/>
    <p:sldId id="2147476098" r:id="rId937"/>
    <p:sldId id="2147476099" r:id="rId938"/>
    <p:sldId id="2147476100" r:id="rId939"/>
    <p:sldId id="2147476101" r:id="rId940"/>
    <p:sldId id="2147476102" r:id="rId941"/>
    <p:sldId id="2147476103" r:id="rId942"/>
    <p:sldId id="2147476104" r:id="rId943"/>
    <p:sldId id="2147476105" r:id="rId944"/>
    <p:sldId id="2147476106" r:id="rId945"/>
    <p:sldId id="2147476107" r:id="rId946"/>
    <p:sldId id="2147476108" r:id="rId947"/>
    <p:sldId id="2147476109" r:id="rId948"/>
    <p:sldId id="2147476110" r:id="rId949"/>
    <p:sldId id="2147476111" r:id="rId950"/>
    <p:sldId id="2147476112" r:id="rId951"/>
    <p:sldId id="2147476113" r:id="rId952"/>
    <p:sldId id="2147476114" r:id="rId953"/>
    <p:sldId id="2147476115" r:id="rId954"/>
    <p:sldId id="2147476116" r:id="rId955"/>
    <p:sldId id="2147476117" r:id="rId956"/>
    <p:sldId id="2147476118" r:id="rId957"/>
    <p:sldId id="2147476119" r:id="rId958"/>
    <p:sldId id="2147476120" r:id="rId959"/>
    <p:sldId id="2147476121" r:id="rId960"/>
    <p:sldId id="2147476122" r:id="rId961"/>
    <p:sldId id="2147476123" r:id="rId962"/>
    <p:sldId id="2147476124" r:id="rId963"/>
    <p:sldId id="2147476125" r:id="rId964"/>
    <p:sldId id="2147476126" r:id="rId965"/>
    <p:sldId id="2147476127" r:id="rId966"/>
    <p:sldId id="2147476128" r:id="rId967"/>
    <p:sldId id="2147476129" r:id="rId968"/>
    <p:sldId id="2147476130" r:id="rId969"/>
    <p:sldId id="2147476131" r:id="rId970"/>
    <p:sldId id="2147476132" r:id="rId971"/>
    <p:sldId id="2147476133" r:id="rId972"/>
    <p:sldId id="2147476134" r:id="rId973"/>
    <p:sldId id="2147476135" r:id="rId974"/>
    <p:sldId id="2147476136" r:id="rId975"/>
    <p:sldId id="2147476137" r:id="rId976"/>
    <p:sldId id="2147476138" r:id="rId977"/>
    <p:sldId id="2147476139" r:id="rId978"/>
    <p:sldId id="2147476140" r:id="rId979"/>
    <p:sldId id="2147476141" r:id="rId980"/>
    <p:sldId id="2147476142" r:id="rId981"/>
    <p:sldId id="2147476143" r:id="rId982"/>
    <p:sldId id="2147476144" r:id="rId983"/>
    <p:sldId id="2147476145" r:id="rId984"/>
    <p:sldId id="2147476146" r:id="rId985"/>
    <p:sldId id="2147476147" r:id="rId986"/>
    <p:sldId id="2147476148" r:id="rId987"/>
    <p:sldId id="2147476149" r:id="rId988"/>
    <p:sldId id="2147476150" r:id="rId989"/>
    <p:sldId id="2147476151" r:id="rId990"/>
    <p:sldId id="2147476152" r:id="rId991"/>
    <p:sldId id="2147476153" r:id="rId992"/>
    <p:sldId id="2147476154" r:id="rId993"/>
    <p:sldId id="2147476155" r:id="rId994"/>
    <p:sldId id="2147476156" r:id="rId995"/>
    <p:sldId id="2147476157" r:id="rId996"/>
    <p:sldId id="2147476158" r:id="rId997"/>
    <p:sldId id="2147476159" r:id="rId998"/>
    <p:sldId id="2147476160" r:id="rId999"/>
    <p:sldId id="2147476161" r:id="rId1000"/>
    <p:sldId id="2147476162" r:id="rId1001"/>
    <p:sldId id="2147476163" r:id="rId1002"/>
    <p:sldId id="2147476164" r:id="rId1003"/>
    <p:sldId id="2147476165" r:id="rId1004"/>
    <p:sldId id="2147476166" r:id="rId1005"/>
    <p:sldId id="2147476167" r:id="rId1006"/>
    <p:sldId id="2147476168" r:id="rId1007"/>
    <p:sldId id="2147476169" r:id="rId1008"/>
    <p:sldId id="2147476170" r:id="rId1009"/>
    <p:sldId id="2147476171" r:id="rId1010"/>
    <p:sldId id="2147476172" r:id="rId1011"/>
    <p:sldId id="2147476173" r:id="rId1012"/>
    <p:sldId id="2147476174" r:id="rId1013"/>
    <p:sldId id="2147476175" r:id="rId1014"/>
    <p:sldId id="2147476176" r:id="rId1015"/>
    <p:sldId id="2147476177" r:id="rId1016"/>
    <p:sldId id="2147476178" r:id="rId1017"/>
    <p:sldId id="2147476179" r:id="rId1018"/>
    <p:sldId id="2147476180" r:id="rId1019"/>
    <p:sldId id="2147476181" r:id="rId1020"/>
    <p:sldId id="2147476182" r:id="rId1021"/>
    <p:sldId id="2147476183" r:id="rId1022"/>
    <p:sldId id="2147476184" r:id="rId1023"/>
    <p:sldId id="2147476185" r:id="rId1024"/>
    <p:sldId id="2147476186" r:id="rId1025"/>
    <p:sldId id="2147476187" r:id="rId1026"/>
    <p:sldId id="2147476188" r:id="rId1027"/>
    <p:sldId id="2147476189" r:id="rId1028"/>
    <p:sldId id="2147476190" r:id="rId1029"/>
    <p:sldId id="2147476191" r:id="rId1030"/>
    <p:sldId id="2147476192" r:id="rId1031"/>
    <p:sldId id="2147476193" r:id="rId1032"/>
    <p:sldId id="2147476194" r:id="rId1033"/>
    <p:sldId id="2147476195" r:id="rId1034"/>
    <p:sldId id="2147476196" r:id="rId1035"/>
    <p:sldId id="2147476197" r:id="rId1036"/>
    <p:sldId id="2147476198" r:id="rId1037"/>
    <p:sldId id="2147476199" r:id="rId1038"/>
    <p:sldId id="2147476200" r:id="rId1039"/>
    <p:sldId id="2147476201" r:id="rId1040"/>
    <p:sldId id="2147476202" r:id="rId1041"/>
    <p:sldId id="2147476203" r:id="rId1042"/>
    <p:sldId id="2147476204" r:id="rId1043"/>
    <p:sldId id="2147476205" r:id="rId1044"/>
    <p:sldId id="2147476206" r:id="rId1045"/>
    <p:sldId id="2147476207" r:id="rId1046"/>
    <p:sldId id="2147476208" r:id="rId1047"/>
    <p:sldId id="2147476209" r:id="rId1048"/>
    <p:sldId id="2147476210" r:id="rId1049"/>
    <p:sldId id="2147476211" r:id="rId1050"/>
    <p:sldId id="2147476212" r:id="rId1051"/>
    <p:sldId id="2147476213" r:id="rId1052"/>
    <p:sldId id="2147476214" r:id="rId1053"/>
    <p:sldId id="2147476215" r:id="rId1054"/>
    <p:sldId id="2147476216" r:id="rId1055"/>
    <p:sldId id="2147476217" r:id="rId1056"/>
    <p:sldId id="2147476218" r:id="rId1057"/>
    <p:sldId id="2147476219" r:id="rId1058"/>
    <p:sldId id="2147476220" r:id="rId1059"/>
    <p:sldId id="2147476221" r:id="rId1060"/>
    <p:sldId id="2147476222" r:id="rId1061"/>
    <p:sldId id="2147476223" r:id="rId1062"/>
    <p:sldId id="2147476224" r:id="rId1063"/>
    <p:sldId id="2147476225" r:id="rId1064"/>
    <p:sldId id="2147476226" r:id="rId1065"/>
    <p:sldId id="2147476227" r:id="rId1066"/>
    <p:sldId id="2147476228" r:id="rId1067"/>
    <p:sldId id="2147476229" r:id="rId1068"/>
    <p:sldId id="2147476230" r:id="rId1069"/>
    <p:sldId id="2147476231" r:id="rId1070"/>
    <p:sldId id="2147476232" r:id="rId1071"/>
    <p:sldId id="2147476233" r:id="rId1072"/>
    <p:sldId id="2147476234" r:id="rId1073"/>
    <p:sldId id="2147476235" r:id="rId1074"/>
    <p:sldId id="2147476236" r:id="rId1075"/>
    <p:sldId id="2147476237" r:id="rId1076"/>
    <p:sldId id="2147476238" r:id="rId1077"/>
    <p:sldId id="2147476239" r:id="rId1078"/>
    <p:sldId id="2147476240" r:id="rId1079"/>
    <p:sldId id="2147476241" r:id="rId1080"/>
    <p:sldId id="2147476242" r:id="rId1081"/>
    <p:sldId id="2147476243" r:id="rId1082"/>
    <p:sldId id="2147476244" r:id="rId1083"/>
    <p:sldId id="2147476245" r:id="rId1084"/>
    <p:sldId id="2147476246" r:id="rId1085"/>
    <p:sldId id="2147476247" r:id="rId1086"/>
    <p:sldId id="2147476248" r:id="rId1087"/>
    <p:sldId id="2147476249" r:id="rId1088"/>
    <p:sldId id="2147476250" r:id="rId1089"/>
    <p:sldId id="2147476251" r:id="rId1090"/>
    <p:sldId id="2147476252" r:id="rId1091"/>
    <p:sldId id="2147476253" r:id="rId1092"/>
    <p:sldId id="2147476254" r:id="rId1093"/>
    <p:sldId id="2147476255" r:id="rId1094"/>
    <p:sldId id="2147476256" r:id="rId1095"/>
    <p:sldId id="2147476257" r:id="rId1096"/>
    <p:sldId id="2147476258" r:id="rId1097"/>
    <p:sldId id="2147476259" r:id="rId1098"/>
    <p:sldId id="2147476260" r:id="rId1099"/>
    <p:sldId id="2147476261" r:id="rId1100"/>
    <p:sldId id="2147476262" r:id="rId1101"/>
    <p:sldId id="2147476263" r:id="rId1102"/>
    <p:sldId id="2147476264" r:id="rId1103"/>
    <p:sldId id="2147476265" r:id="rId1104"/>
    <p:sldId id="2147476266" r:id="rId1105"/>
    <p:sldId id="2147476267" r:id="rId1106"/>
    <p:sldId id="2147476268" r:id="rId1107"/>
    <p:sldId id="2147476269" r:id="rId1108"/>
    <p:sldId id="2147476270" r:id="rId1109"/>
    <p:sldId id="2147476271" r:id="rId1110"/>
    <p:sldId id="2147476272" r:id="rId1111"/>
    <p:sldId id="2147476273" r:id="rId1112"/>
    <p:sldId id="2147476274" r:id="rId1113"/>
    <p:sldId id="2147476275" r:id="rId1114"/>
    <p:sldId id="2147476276" r:id="rId1115"/>
    <p:sldId id="2147476277" r:id="rId1116"/>
    <p:sldId id="2147476278" r:id="rId1117"/>
    <p:sldId id="2147476279" r:id="rId1118"/>
    <p:sldId id="2147476280" r:id="rId1119"/>
    <p:sldId id="2147476281" r:id="rId1120"/>
    <p:sldId id="2147476282" r:id="rId1121"/>
    <p:sldId id="2147476283" r:id="rId1122"/>
    <p:sldId id="2147476284" r:id="rId1123"/>
    <p:sldId id="2147476285" r:id="rId1124"/>
    <p:sldId id="2147476286" r:id="rId1125"/>
    <p:sldId id="2147476287" r:id="rId1126"/>
    <p:sldId id="2147476288" r:id="rId1127"/>
    <p:sldId id="2147476289" r:id="rId1128"/>
    <p:sldId id="2147476290" r:id="rId1129"/>
    <p:sldId id="2147476291" r:id="rId1130"/>
    <p:sldId id="2147476292" r:id="rId1131"/>
    <p:sldId id="2147476293" r:id="rId1132"/>
    <p:sldId id="2147476294" r:id="rId1133"/>
    <p:sldId id="2147476295" r:id="rId1134"/>
    <p:sldId id="2147476296" r:id="rId1135"/>
    <p:sldId id="2147476297" r:id="rId1136"/>
    <p:sldId id="2147476298" r:id="rId1137"/>
    <p:sldId id="2147476299" r:id="rId1138"/>
    <p:sldId id="2147476300" r:id="rId1139"/>
    <p:sldId id="2147476301" r:id="rId1140"/>
    <p:sldId id="2147476302" r:id="rId1141"/>
    <p:sldId id="2147476303" r:id="rId1142"/>
    <p:sldId id="2147476304" r:id="rId1143"/>
    <p:sldId id="2147476305" r:id="rId1144"/>
    <p:sldId id="2147476306" r:id="rId1145"/>
    <p:sldId id="2147476307" r:id="rId1146"/>
    <p:sldId id="2147476308" r:id="rId1147"/>
    <p:sldId id="2147476309" r:id="rId1148"/>
    <p:sldId id="2147476310" r:id="rId1149"/>
    <p:sldId id="2147476311" r:id="rId1150"/>
    <p:sldId id="2147476312" r:id="rId1151"/>
    <p:sldId id="2147476313" r:id="rId1152"/>
    <p:sldId id="2147476314" r:id="rId1153"/>
    <p:sldId id="2147476315" r:id="rId1154"/>
    <p:sldId id="2147476316" r:id="rId1155"/>
    <p:sldId id="2147476317" r:id="rId1156"/>
    <p:sldId id="2147476318" r:id="rId1157"/>
    <p:sldId id="2147476319" r:id="rId1158"/>
    <p:sldId id="2147476320" r:id="rId1159"/>
    <p:sldId id="2147476321" r:id="rId1160"/>
    <p:sldId id="2147476322" r:id="rId1161"/>
    <p:sldId id="2147476323" r:id="rId1162"/>
    <p:sldId id="2147476324" r:id="rId1163"/>
    <p:sldId id="2147476325" r:id="rId1164"/>
    <p:sldId id="2147476326" r:id="rId1165"/>
    <p:sldId id="2147476327" r:id="rId1166"/>
    <p:sldId id="2147476328" r:id="rId1167"/>
    <p:sldId id="2147476329" r:id="rId1168"/>
    <p:sldId id="2147476330" r:id="rId1169"/>
    <p:sldId id="2147476331" r:id="rId1170"/>
    <p:sldId id="2147476332" r:id="rId1171"/>
    <p:sldId id="2147476333" r:id="rId1172"/>
    <p:sldId id="2147476334" r:id="rId1173"/>
    <p:sldId id="2147476335" r:id="rId1174"/>
    <p:sldId id="2147476336" r:id="rId1175"/>
    <p:sldId id="2147476337" r:id="rId1176"/>
    <p:sldId id="2147476338" r:id="rId1177"/>
    <p:sldId id="2147476339" r:id="rId1178"/>
    <p:sldId id="2147476340" r:id="rId1179"/>
    <p:sldId id="2147476341" r:id="rId1180"/>
    <p:sldId id="2147476342" r:id="rId1181"/>
    <p:sldId id="2147476343" r:id="rId1182"/>
    <p:sldId id="2147476344" r:id="rId1183"/>
    <p:sldId id="2147476345" r:id="rId1184"/>
    <p:sldId id="2147476346" r:id="rId1185"/>
    <p:sldId id="2147476347" r:id="rId1186"/>
    <p:sldId id="2147476348" r:id="rId1187"/>
    <p:sldId id="2147476349" r:id="rId1188"/>
    <p:sldId id="2147476350" r:id="rId1189"/>
    <p:sldId id="2147476351" r:id="rId1190"/>
    <p:sldId id="2147476352" r:id="rId1191"/>
    <p:sldId id="2147476353" r:id="rId119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5DC36BDC-6EAE-4EF6-A689-F481E8D95B6A}">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Lst>
        </p14:section>
        <p14:section name="Market Trends by Brands" id="{B25C486B-D4B2-4C5E-90C0-ED358281FB98}">
          <p14:sldIdLst>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Lst>
        </p14:section>
        <p14:section name="Market Trends by Sectors" id="{1DD7AAB1-9DE1-4894-B795-E3D899957BED}">
          <p14:sldIdLst>
            <p14:sldId id="2147475516"/>
            <p14:sldId id="2147475517"/>
            <p14:sldId id="2147475518"/>
            <p14:sldId id="2147475519"/>
            <p14:sldId id="2147475520"/>
            <p14:sldId id="2147475521"/>
            <p14:sldId id="2147475522"/>
            <p14:sldId id="2147475523"/>
            <p14:sldId id="2147475524"/>
            <p14:sldId id="2147475525"/>
          </p14:sldIdLst>
        </p14:section>
        <p14:section name="Market Trends by Segments" id="{873480E7-1004-4114-B2C2-8AD9BC9BBEC4}">
          <p14:sldIdLst>
            <p14:sldId id="2147475526"/>
            <p14:sldId id="2147475527"/>
            <p14:sldId id="2147475528"/>
            <p14:sldId id="2147475529"/>
            <p14:sldId id="2147475530"/>
            <p14:sldId id="2147475531"/>
            <p14:sldId id="2147475532"/>
            <p14:sldId id="2147475533"/>
            <p14:sldId id="2147475534"/>
            <p14:sldId id="2147475535"/>
          </p14:sldIdLst>
        </p14:section>
        <p14:section name="Market Trends by SubSegments" id="{02FD111C-9E2A-4285-A67F-8FABE97AF0C6}">
          <p14:sldIdLst>
            <p14:sldId id="2147475536"/>
            <p14:sldId id="2147475537"/>
            <p14:sldId id="2147475538"/>
            <p14:sldId id="2147475539"/>
            <p14:sldId id="2147475540"/>
            <p14:sldId id="2147475541"/>
            <p14:sldId id="2147475542"/>
            <p14:sldId id="2147475543"/>
            <p14:sldId id="2147475544"/>
            <p14:sldId id="2147475545"/>
          </p14:sldIdLst>
        </p14:section>
        <p14:section name="Market Trends by SubCategory" id="{36F755CB-1CCA-4C25-B838-B903099BB7F7}">
          <p14:sldIdLst>
            <p14:sldId id="2147475546"/>
            <p14:sldId id="2147475547"/>
            <p14:sldId id="2147475548"/>
            <p14:sldId id="2147475549"/>
            <p14:sldId id="2147475550"/>
            <p14:sldId id="2147475551"/>
            <p14:sldId id="2147475552"/>
            <p14:sldId id="2147475553"/>
            <p14:sldId id="2147475554"/>
            <p14:sldId id="2147475555"/>
          </p14:sldIdLst>
        </p14:section>
        <p14:section name="Market Concentration By Manufacturer" id="{C8329CC5-5FCD-4685-BC09-23C6B5E3D7FD}">
          <p14:sldIdLst>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Lst>
        </p14:section>
        <p14:section name="Market Concentration By Brands" id="{C844D409-BBC0-4D23-AB07-FF8FD5849479}">
          <p14:sldIdLst>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Market Concentration By Sectors" id="{5FDE7A99-1C01-4E02-9BB2-86CE493467F2}">
          <p14:sldIdLst>
            <p14:sldId id="2147475906"/>
            <p14:sldId id="2147475907"/>
            <p14:sldId id="2147475908"/>
            <p14:sldId id="2147475909"/>
            <p14:sldId id="2147475910"/>
            <p14:sldId id="2147475911"/>
            <p14:sldId id="2147475912"/>
            <p14:sldId id="2147475913"/>
            <p14:sldId id="2147475914"/>
            <p14:sldId id="2147475915"/>
          </p14:sldIdLst>
        </p14:section>
        <p14:section name="Market Concentration By Segments" id="{6272D6E9-48FD-4D47-92E8-A4AF56281719}">
          <p14:sldIdLst>
            <p14:sldId id="2147475916"/>
            <p14:sldId id="2147475917"/>
            <p14:sldId id="2147475918"/>
            <p14:sldId id="2147475919"/>
            <p14:sldId id="2147475920"/>
            <p14:sldId id="2147475921"/>
            <p14:sldId id="2147475922"/>
            <p14:sldId id="2147475923"/>
            <p14:sldId id="2147475924"/>
            <p14:sldId id="2147475925"/>
          </p14:sldIdLst>
        </p14:section>
        <p14:section name="Market Concentration by SubSegments" id="{0092E203-8310-46C0-9567-79BD1A953E18}">
          <p14:sldIdLst>
            <p14:sldId id="2147475926"/>
            <p14:sldId id="2147475927"/>
            <p14:sldId id="2147475928"/>
            <p14:sldId id="2147475929"/>
            <p14:sldId id="2147475930"/>
            <p14:sldId id="2147475931"/>
            <p14:sldId id="2147475932"/>
            <p14:sldId id="2147475933"/>
            <p14:sldId id="2147475934"/>
            <p14:sldId id="2147475935"/>
          </p14:sldIdLst>
        </p14:section>
        <p14:section name="Market Concentration by SubCategory" id="{D33F673C-179E-4456-8303-798EB68D91CD}">
          <p14:sldIdLst>
            <p14:sldId id="2147475936"/>
            <p14:sldId id="2147475937"/>
            <p14:sldId id="2147475938"/>
            <p14:sldId id="2147475939"/>
            <p14:sldId id="2147475940"/>
            <p14:sldId id="2147475941"/>
            <p14:sldId id="2147475942"/>
            <p14:sldId id="2147475943"/>
            <p14:sldId id="2147475944"/>
            <p14:sldId id="2147475945"/>
          </p14:sldIdLst>
        </p14:section>
        <p14:section name="Market Growth By Sectors" id="{045CBE08-BEEA-4B12-867C-05F7B8B901D9}">
          <p14:sldIdLst>
            <p14:sldId id="2147475946"/>
            <p14:sldId id="2147475947"/>
            <p14:sldId id="2147475948"/>
            <p14:sldId id="2147475949"/>
            <p14:sldId id="2147475950"/>
            <p14:sldId id="2147475951"/>
            <p14:sldId id="2147475952"/>
            <p14:sldId id="2147475953"/>
            <p14:sldId id="2147475954"/>
            <p14:sldId id="2147475955"/>
          </p14:sldIdLst>
        </p14:section>
        <p14:section name="Market Growth By Segments" id="{E4939846-F20B-4C2F-8315-6E57C806BFEB}">
          <p14:sldIdLst>
            <p14:sldId id="2147475956"/>
            <p14:sldId id="2147475957"/>
            <p14:sldId id="2147475958"/>
            <p14:sldId id="2147475959"/>
            <p14:sldId id="2147475960"/>
            <p14:sldId id="2147475961"/>
            <p14:sldId id="2147475962"/>
            <p14:sldId id="2147475963"/>
            <p14:sldId id="2147475964"/>
            <p14:sldId id="2147475965"/>
          </p14:sldIdLst>
        </p14:section>
        <p14:section name="Market Growth By SubSegments" id="{CF2B3FE7-EB14-465F-9E5E-D2BEFEBA9F06}">
          <p14:sldIdLst>
            <p14:sldId id="2147475966"/>
            <p14:sldId id="2147475967"/>
            <p14:sldId id="2147475968"/>
            <p14:sldId id="2147475969"/>
            <p14:sldId id="2147475970"/>
            <p14:sldId id="2147475971"/>
            <p14:sldId id="2147475972"/>
            <p14:sldId id="2147475973"/>
            <p14:sldId id="2147475974"/>
            <p14:sldId id="2147475975"/>
          </p14:sldIdLst>
        </p14:section>
        <p14:section name="Market Growth By SubCategory" id="{CBCDF3A6-1470-4482-8C1D-5DECBE76A8B8}">
          <p14:sldIdLst>
            <p14:sldId id="2147475976"/>
            <p14:sldId id="2147475977"/>
            <p14:sldId id="2147475978"/>
            <p14:sldId id="2147475979"/>
            <p14:sldId id="2147475980"/>
            <p14:sldId id="2147475981"/>
            <p14:sldId id="2147475982"/>
            <p14:sldId id="2147475983"/>
            <p14:sldId id="2147475984"/>
            <p14:sldId id="2147475985"/>
          </p14:sldIdLst>
        </p14:section>
        <p14:section name="Market Growth By Retailer For Region" id="{2500407F-340E-4D79-BD5F-B3CA89C4B1B8}">
          <p14:sldIdLst>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Lst>
        </p14:section>
        <p14:section name="Market Growth By Retailer For Channel" id="{28B21477-645C-4B4D-B7E0-4C6111AEBF99}">
          <p14:sldIdLst>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Lst>
        </p14:section>
        <p14:section name="Value Vs AvgPrice By Sectors" id="{D282EA42-7807-4A3B-AA3B-C27A4BDE4B9E}">
          <p14:sldIdLst>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Lst>
        </p14:section>
        <p14:section name="Value Vs AvgPrice By Segments" id="{0185B7D9-DBD1-425C-8A17-144861613B53}">
          <p14:sldIdLst>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Lst>
        </p14:section>
        <p14:section name="Value Vs AvgPrice By SubSegments" id="{7B5482E7-465C-42E5-9A13-09EB2D03B08E}">
          <p14:sldIdLst>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Lst>
        </p14:section>
        <p14:section name="Value Vs AvgPrice By SubCategory" id="{FD025C2C-593B-4990-AB2E-16E50F686C09}">
          <p14:sldIdLst>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Lst>
        </p14:section>
        <p14:section name="Value Vs AvgPrice By Retailer For Region" id="{89E2C2B1-3FDF-47D7-9720-E93A61E74E9D}">
          <p14:sldIdLst>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Lst>
        </p14:section>
        <p14:section name="Value Vs AvgPrice By Retailer For Channel" id="{6BD14932-016C-4C1C-BAC9-C05A8C1012B2}">
          <p14:sldIdLst>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slide" Target="slides/slide938.xml"/><Relationship Id="rId943" Type="http://schemas.openxmlformats.org/officeDocument/2006/relationships/slide" Target="slides/slide939.xml"/><Relationship Id="rId944" Type="http://schemas.openxmlformats.org/officeDocument/2006/relationships/slide" Target="slides/slide940.xml"/><Relationship Id="rId945" Type="http://schemas.openxmlformats.org/officeDocument/2006/relationships/slide" Target="slides/slide941.xml"/><Relationship Id="rId946" Type="http://schemas.openxmlformats.org/officeDocument/2006/relationships/slide" Target="slides/slide942.xml"/><Relationship Id="rId947" Type="http://schemas.openxmlformats.org/officeDocument/2006/relationships/slide" Target="slides/slide943.xml"/><Relationship Id="rId948" Type="http://schemas.openxmlformats.org/officeDocument/2006/relationships/slide" Target="slides/slide944.xml"/><Relationship Id="rId949" Type="http://schemas.openxmlformats.org/officeDocument/2006/relationships/slide" Target="slides/slide945.xml"/><Relationship Id="rId950" Type="http://schemas.openxmlformats.org/officeDocument/2006/relationships/slide" Target="slides/slide946.xml"/><Relationship Id="rId951" Type="http://schemas.openxmlformats.org/officeDocument/2006/relationships/slide" Target="slides/slide947.xml"/><Relationship Id="rId952" Type="http://schemas.openxmlformats.org/officeDocument/2006/relationships/slide" Target="slides/slide948.xml"/><Relationship Id="rId953" Type="http://schemas.openxmlformats.org/officeDocument/2006/relationships/slide" Target="slides/slide949.xml"/><Relationship Id="rId954" Type="http://schemas.openxmlformats.org/officeDocument/2006/relationships/slide" Target="slides/slide950.xml"/><Relationship Id="rId955" Type="http://schemas.openxmlformats.org/officeDocument/2006/relationships/slide" Target="slides/slide951.xml"/><Relationship Id="rId956" Type="http://schemas.openxmlformats.org/officeDocument/2006/relationships/slide" Target="slides/slide952.xml"/><Relationship Id="rId957" Type="http://schemas.openxmlformats.org/officeDocument/2006/relationships/slide" Target="slides/slide953.xml"/><Relationship Id="rId958" Type="http://schemas.openxmlformats.org/officeDocument/2006/relationships/slide" Target="slides/slide954.xml"/><Relationship Id="rId959" Type="http://schemas.openxmlformats.org/officeDocument/2006/relationships/slide" Target="slides/slide955.xml"/><Relationship Id="rId960" Type="http://schemas.openxmlformats.org/officeDocument/2006/relationships/slide" Target="slides/slide956.xml"/><Relationship Id="rId961" Type="http://schemas.openxmlformats.org/officeDocument/2006/relationships/slide" Target="slides/slide957.xml"/><Relationship Id="rId962" Type="http://schemas.openxmlformats.org/officeDocument/2006/relationships/slide" Target="slides/slide958.xml"/><Relationship Id="rId963" Type="http://schemas.openxmlformats.org/officeDocument/2006/relationships/slide" Target="slides/slide959.xml"/><Relationship Id="rId964" Type="http://schemas.openxmlformats.org/officeDocument/2006/relationships/slide" Target="slides/slide960.xml"/><Relationship Id="rId965" Type="http://schemas.openxmlformats.org/officeDocument/2006/relationships/slide" Target="slides/slide961.xml"/><Relationship Id="rId966" Type="http://schemas.openxmlformats.org/officeDocument/2006/relationships/slide" Target="slides/slide962.xml"/><Relationship Id="rId967" Type="http://schemas.openxmlformats.org/officeDocument/2006/relationships/slide" Target="slides/slide963.xml"/><Relationship Id="rId968" Type="http://schemas.openxmlformats.org/officeDocument/2006/relationships/slide" Target="slides/slide964.xml"/><Relationship Id="rId969" Type="http://schemas.openxmlformats.org/officeDocument/2006/relationships/slide" Target="slides/slide965.xml"/><Relationship Id="rId970" Type="http://schemas.openxmlformats.org/officeDocument/2006/relationships/slide" Target="slides/slide966.xml"/><Relationship Id="rId971" Type="http://schemas.openxmlformats.org/officeDocument/2006/relationships/slide" Target="slides/slide967.xml"/><Relationship Id="rId972" Type="http://schemas.openxmlformats.org/officeDocument/2006/relationships/slide" Target="slides/slide968.xml"/><Relationship Id="rId973" Type="http://schemas.openxmlformats.org/officeDocument/2006/relationships/slide" Target="slides/slide969.xml"/><Relationship Id="rId974" Type="http://schemas.openxmlformats.org/officeDocument/2006/relationships/slide" Target="slides/slide970.xml"/><Relationship Id="rId975" Type="http://schemas.openxmlformats.org/officeDocument/2006/relationships/slide" Target="slides/slide971.xml"/><Relationship Id="rId976" Type="http://schemas.openxmlformats.org/officeDocument/2006/relationships/slide" Target="slides/slide972.xml"/><Relationship Id="rId977" Type="http://schemas.openxmlformats.org/officeDocument/2006/relationships/slide" Target="slides/slide973.xml"/><Relationship Id="rId978" Type="http://schemas.openxmlformats.org/officeDocument/2006/relationships/slide" Target="slides/slide974.xml"/><Relationship Id="rId979" Type="http://schemas.openxmlformats.org/officeDocument/2006/relationships/slide" Target="slides/slide975.xml"/><Relationship Id="rId980" Type="http://schemas.openxmlformats.org/officeDocument/2006/relationships/slide" Target="slides/slide976.xml"/><Relationship Id="rId981" Type="http://schemas.openxmlformats.org/officeDocument/2006/relationships/slide" Target="slides/slide977.xml"/><Relationship Id="rId982" Type="http://schemas.openxmlformats.org/officeDocument/2006/relationships/slide" Target="slides/slide978.xml"/><Relationship Id="rId983" Type="http://schemas.openxmlformats.org/officeDocument/2006/relationships/slide" Target="slides/slide979.xml"/><Relationship Id="rId984" Type="http://schemas.openxmlformats.org/officeDocument/2006/relationships/slide" Target="slides/slide980.xml"/><Relationship Id="rId985" Type="http://schemas.openxmlformats.org/officeDocument/2006/relationships/slide" Target="slides/slide981.xml"/><Relationship Id="rId986" Type="http://schemas.openxmlformats.org/officeDocument/2006/relationships/slide" Target="slides/slide982.xml"/><Relationship Id="rId987" Type="http://schemas.openxmlformats.org/officeDocument/2006/relationships/slide" Target="slides/slide983.xml"/><Relationship Id="rId988" Type="http://schemas.openxmlformats.org/officeDocument/2006/relationships/slide" Target="slides/slide984.xml"/><Relationship Id="rId989" Type="http://schemas.openxmlformats.org/officeDocument/2006/relationships/slide" Target="slides/slide985.xml"/><Relationship Id="rId990" Type="http://schemas.openxmlformats.org/officeDocument/2006/relationships/slide" Target="slides/slide986.xml"/><Relationship Id="rId991" Type="http://schemas.openxmlformats.org/officeDocument/2006/relationships/slide" Target="slides/slide987.xml"/><Relationship Id="rId992" Type="http://schemas.openxmlformats.org/officeDocument/2006/relationships/slide" Target="slides/slide988.xml"/><Relationship Id="rId993" Type="http://schemas.openxmlformats.org/officeDocument/2006/relationships/slide" Target="slides/slide989.xml"/><Relationship Id="rId994" Type="http://schemas.openxmlformats.org/officeDocument/2006/relationships/slide" Target="slides/slide990.xml"/><Relationship Id="rId995" Type="http://schemas.openxmlformats.org/officeDocument/2006/relationships/slide" Target="slides/slide991.xml"/><Relationship Id="rId996" Type="http://schemas.openxmlformats.org/officeDocument/2006/relationships/slide" Target="slides/slide992.xml"/><Relationship Id="rId997" Type="http://schemas.openxmlformats.org/officeDocument/2006/relationships/slide" Target="slides/slide993.xml"/><Relationship Id="rId998" Type="http://schemas.openxmlformats.org/officeDocument/2006/relationships/slide" Target="slides/slide994.xml"/><Relationship Id="rId999" Type="http://schemas.openxmlformats.org/officeDocument/2006/relationships/slide" Target="slides/slide995.xml"/><Relationship Id="rId1000" Type="http://schemas.openxmlformats.org/officeDocument/2006/relationships/slide" Target="slides/slide996.xml"/><Relationship Id="rId1001" Type="http://schemas.openxmlformats.org/officeDocument/2006/relationships/slide" Target="slides/slide997.xml"/><Relationship Id="rId1002" Type="http://schemas.openxmlformats.org/officeDocument/2006/relationships/slide" Target="slides/slide998.xml"/><Relationship Id="rId1003" Type="http://schemas.openxmlformats.org/officeDocument/2006/relationships/slide" Target="slides/slide999.xml"/><Relationship Id="rId1004" Type="http://schemas.openxmlformats.org/officeDocument/2006/relationships/slide" Target="slides/slide1000.xml"/><Relationship Id="rId1005" Type="http://schemas.openxmlformats.org/officeDocument/2006/relationships/slide" Target="slides/slide1001.xml"/><Relationship Id="rId1006" Type="http://schemas.openxmlformats.org/officeDocument/2006/relationships/slide" Target="slides/slide1002.xml"/><Relationship Id="rId1007" Type="http://schemas.openxmlformats.org/officeDocument/2006/relationships/slide" Target="slides/slide1003.xml"/><Relationship Id="rId1008" Type="http://schemas.openxmlformats.org/officeDocument/2006/relationships/slide" Target="slides/slide1004.xml"/><Relationship Id="rId1009" Type="http://schemas.openxmlformats.org/officeDocument/2006/relationships/slide" Target="slides/slide1005.xml"/><Relationship Id="rId1010" Type="http://schemas.openxmlformats.org/officeDocument/2006/relationships/slide" Target="slides/slide1006.xml"/><Relationship Id="rId1011" Type="http://schemas.openxmlformats.org/officeDocument/2006/relationships/slide" Target="slides/slide1007.xml"/><Relationship Id="rId1012" Type="http://schemas.openxmlformats.org/officeDocument/2006/relationships/slide" Target="slides/slide1008.xml"/><Relationship Id="rId1013" Type="http://schemas.openxmlformats.org/officeDocument/2006/relationships/slide" Target="slides/slide1009.xml"/><Relationship Id="rId1014" Type="http://schemas.openxmlformats.org/officeDocument/2006/relationships/slide" Target="slides/slide1010.xml"/><Relationship Id="rId1015" Type="http://schemas.openxmlformats.org/officeDocument/2006/relationships/slide" Target="slides/slide1011.xml"/><Relationship Id="rId1016" Type="http://schemas.openxmlformats.org/officeDocument/2006/relationships/slide" Target="slides/slide1012.xml"/><Relationship Id="rId1017" Type="http://schemas.openxmlformats.org/officeDocument/2006/relationships/slide" Target="slides/slide1013.xml"/><Relationship Id="rId1018" Type="http://schemas.openxmlformats.org/officeDocument/2006/relationships/slide" Target="slides/slide1014.xml"/><Relationship Id="rId1019" Type="http://schemas.openxmlformats.org/officeDocument/2006/relationships/slide" Target="slides/slide1015.xml"/><Relationship Id="rId1020" Type="http://schemas.openxmlformats.org/officeDocument/2006/relationships/slide" Target="slides/slide1016.xml"/><Relationship Id="rId1021" Type="http://schemas.openxmlformats.org/officeDocument/2006/relationships/slide" Target="slides/slide1017.xml"/><Relationship Id="rId1022" Type="http://schemas.openxmlformats.org/officeDocument/2006/relationships/slide" Target="slides/slide1018.xml"/><Relationship Id="rId1023" Type="http://schemas.openxmlformats.org/officeDocument/2006/relationships/slide" Target="slides/slide1019.xml"/><Relationship Id="rId1024" Type="http://schemas.openxmlformats.org/officeDocument/2006/relationships/slide" Target="slides/slide1020.xml"/><Relationship Id="rId1025" Type="http://schemas.openxmlformats.org/officeDocument/2006/relationships/slide" Target="slides/slide1021.xml"/><Relationship Id="rId1026" Type="http://schemas.openxmlformats.org/officeDocument/2006/relationships/slide" Target="slides/slide1022.xml"/><Relationship Id="rId1027" Type="http://schemas.openxmlformats.org/officeDocument/2006/relationships/slide" Target="slides/slide1023.xml"/><Relationship Id="rId1028" Type="http://schemas.openxmlformats.org/officeDocument/2006/relationships/slide" Target="slides/slide1024.xml"/><Relationship Id="rId1029" Type="http://schemas.openxmlformats.org/officeDocument/2006/relationships/slide" Target="slides/slide1025.xml"/><Relationship Id="rId1030" Type="http://schemas.openxmlformats.org/officeDocument/2006/relationships/slide" Target="slides/slide1026.xml"/><Relationship Id="rId1031" Type="http://schemas.openxmlformats.org/officeDocument/2006/relationships/slide" Target="slides/slide1027.xml"/><Relationship Id="rId1032" Type="http://schemas.openxmlformats.org/officeDocument/2006/relationships/slide" Target="slides/slide1028.xml"/><Relationship Id="rId1033" Type="http://schemas.openxmlformats.org/officeDocument/2006/relationships/slide" Target="slides/slide1029.xml"/><Relationship Id="rId1034" Type="http://schemas.openxmlformats.org/officeDocument/2006/relationships/slide" Target="slides/slide1030.xml"/><Relationship Id="rId1035" Type="http://schemas.openxmlformats.org/officeDocument/2006/relationships/slide" Target="slides/slide1031.xml"/><Relationship Id="rId1036" Type="http://schemas.openxmlformats.org/officeDocument/2006/relationships/slide" Target="slides/slide1032.xml"/><Relationship Id="rId1037" Type="http://schemas.openxmlformats.org/officeDocument/2006/relationships/slide" Target="slides/slide1033.xml"/><Relationship Id="rId1038" Type="http://schemas.openxmlformats.org/officeDocument/2006/relationships/slide" Target="slides/slide1034.xml"/><Relationship Id="rId1039" Type="http://schemas.openxmlformats.org/officeDocument/2006/relationships/slide" Target="slides/slide1035.xml"/><Relationship Id="rId1040" Type="http://schemas.openxmlformats.org/officeDocument/2006/relationships/slide" Target="slides/slide1036.xml"/><Relationship Id="rId1041" Type="http://schemas.openxmlformats.org/officeDocument/2006/relationships/slide" Target="slides/slide1037.xml"/><Relationship Id="rId1042" Type="http://schemas.openxmlformats.org/officeDocument/2006/relationships/slide" Target="slides/slide1038.xml"/><Relationship Id="rId1043" Type="http://schemas.openxmlformats.org/officeDocument/2006/relationships/slide" Target="slides/slide1039.xml"/><Relationship Id="rId1044" Type="http://schemas.openxmlformats.org/officeDocument/2006/relationships/slide" Target="slides/slide1040.xml"/><Relationship Id="rId1045" Type="http://schemas.openxmlformats.org/officeDocument/2006/relationships/slide" Target="slides/slide1041.xml"/><Relationship Id="rId1046" Type="http://schemas.openxmlformats.org/officeDocument/2006/relationships/slide" Target="slides/slide1042.xml"/><Relationship Id="rId1047" Type="http://schemas.openxmlformats.org/officeDocument/2006/relationships/slide" Target="slides/slide1043.xml"/><Relationship Id="rId1048" Type="http://schemas.openxmlformats.org/officeDocument/2006/relationships/slide" Target="slides/slide1044.xml"/><Relationship Id="rId1049" Type="http://schemas.openxmlformats.org/officeDocument/2006/relationships/slide" Target="slides/slide1045.xml"/><Relationship Id="rId1050" Type="http://schemas.openxmlformats.org/officeDocument/2006/relationships/slide" Target="slides/slide1046.xml"/><Relationship Id="rId1051" Type="http://schemas.openxmlformats.org/officeDocument/2006/relationships/slide" Target="slides/slide1047.xml"/><Relationship Id="rId1052" Type="http://schemas.openxmlformats.org/officeDocument/2006/relationships/slide" Target="slides/slide1048.xml"/><Relationship Id="rId1053" Type="http://schemas.openxmlformats.org/officeDocument/2006/relationships/slide" Target="slides/slide1049.xml"/><Relationship Id="rId1054" Type="http://schemas.openxmlformats.org/officeDocument/2006/relationships/slide" Target="slides/slide1050.xml"/><Relationship Id="rId1055" Type="http://schemas.openxmlformats.org/officeDocument/2006/relationships/slide" Target="slides/slide1051.xml"/><Relationship Id="rId1056" Type="http://schemas.openxmlformats.org/officeDocument/2006/relationships/slide" Target="slides/slide1052.xml"/><Relationship Id="rId1057" Type="http://schemas.openxmlformats.org/officeDocument/2006/relationships/slide" Target="slides/slide1053.xml"/><Relationship Id="rId1058" Type="http://schemas.openxmlformats.org/officeDocument/2006/relationships/slide" Target="slides/slide1054.xml"/><Relationship Id="rId1059" Type="http://schemas.openxmlformats.org/officeDocument/2006/relationships/slide" Target="slides/slide1055.xml"/><Relationship Id="rId1060" Type="http://schemas.openxmlformats.org/officeDocument/2006/relationships/slide" Target="slides/slide1056.xml"/><Relationship Id="rId1061" Type="http://schemas.openxmlformats.org/officeDocument/2006/relationships/slide" Target="slides/slide1057.xml"/><Relationship Id="rId1062" Type="http://schemas.openxmlformats.org/officeDocument/2006/relationships/slide" Target="slides/slide1058.xml"/><Relationship Id="rId1063" Type="http://schemas.openxmlformats.org/officeDocument/2006/relationships/slide" Target="slides/slide1059.xml"/><Relationship Id="rId1064" Type="http://schemas.openxmlformats.org/officeDocument/2006/relationships/slide" Target="slides/slide1060.xml"/><Relationship Id="rId1065" Type="http://schemas.openxmlformats.org/officeDocument/2006/relationships/slide" Target="slides/slide1061.xml"/><Relationship Id="rId1066" Type="http://schemas.openxmlformats.org/officeDocument/2006/relationships/slide" Target="slides/slide1062.xml"/><Relationship Id="rId1067" Type="http://schemas.openxmlformats.org/officeDocument/2006/relationships/slide" Target="slides/slide1063.xml"/><Relationship Id="rId1068" Type="http://schemas.openxmlformats.org/officeDocument/2006/relationships/slide" Target="slides/slide1064.xml"/><Relationship Id="rId1069" Type="http://schemas.openxmlformats.org/officeDocument/2006/relationships/slide" Target="slides/slide1065.xml"/><Relationship Id="rId1070" Type="http://schemas.openxmlformats.org/officeDocument/2006/relationships/slide" Target="slides/slide1066.xml"/><Relationship Id="rId1071" Type="http://schemas.openxmlformats.org/officeDocument/2006/relationships/slide" Target="slides/slide1067.xml"/><Relationship Id="rId1072" Type="http://schemas.openxmlformats.org/officeDocument/2006/relationships/slide" Target="slides/slide1068.xml"/><Relationship Id="rId1073" Type="http://schemas.openxmlformats.org/officeDocument/2006/relationships/slide" Target="slides/slide1069.xml"/><Relationship Id="rId1074" Type="http://schemas.openxmlformats.org/officeDocument/2006/relationships/slide" Target="slides/slide1070.xml"/><Relationship Id="rId1075" Type="http://schemas.openxmlformats.org/officeDocument/2006/relationships/slide" Target="slides/slide1071.xml"/><Relationship Id="rId1076" Type="http://schemas.openxmlformats.org/officeDocument/2006/relationships/slide" Target="slides/slide1072.xml"/><Relationship Id="rId1077" Type="http://schemas.openxmlformats.org/officeDocument/2006/relationships/slide" Target="slides/slide1073.xml"/><Relationship Id="rId1078" Type="http://schemas.openxmlformats.org/officeDocument/2006/relationships/slide" Target="slides/slide1074.xml"/><Relationship Id="rId1079" Type="http://schemas.openxmlformats.org/officeDocument/2006/relationships/slide" Target="slides/slide1075.xml"/><Relationship Id="rId1080" Type="http://schemas.openxmlformats.org/officeDocument/2006/relationships/slide" Target="slides/slide1076.xml"/><Relationship Id="rId1081" Type="http://schemas.openxmlformats.org/officeDocument/2006/relationships/slide" Target="slides/slide1077.xml"/><Relationship Id="rId1082" Type="http://schemas.openxmlformats.org/officeDocument/2006/relationships/slide" Target="slides/slide1078.xml"/><Relationship Id="rId1083" Type="http://schemas.openxmlformats.org/officeDocument/2006/relationships/slide" Target="slides/slide1079.xml"/><Relationship Id="rId1084" Type="http://schemas.openxmlformats.org/officeDocument/2006/relationships/slide" Target="slides/slide1080.xml"/><Relationship Id="rId1085" Type="http://schemas.openxmlformats.org/officeDocument/2006/relationships/slide" Target="slides/slide1081.xml"/><Relationship Id="rId1086" Type="http://schemas.openxmlformats.org/officeDocument/2006/relationships/slide" Target="slides/slide1082.xml"/><Relationship Id="rId1087" Type="http://schemas.openxmlformats.org/officeDocument/2006/relationships/slide" Target="slides/slide1083.xml"/><Relationship Id="rId1088" Type="http://schemas.openxmlformats.org/officeDocument/2006/relationships/slide" Target="slides/slide1084.xml"/><Relationship Id="rId1089" Type="http://schemas.openxmlformats.org/officeDocument/2006/relationships/slide" Target="slides/slide1085.xml"/><Relationship Id="rId1090" Type="http://schemas.openxmlformats.org/officeDocument/2006/relationships/slide" Target="slides/slide1086.xml"/><Relationship Id="rId1091" Type="http://schemas.openxmlformats.org/officeDocument/2006/relationships/slide" Target="slides/slide1087.xml"/><Relationship Id="rId1092" Type="http://schemas.openxmlformats.org/officeDocument/2006/relationships/slide" Target="slides/slide1088.xml"/><Relationship Id="rId1093" Type="http://schemas.openxmlformats.org/officeDocument/2006/relationships/slide" Target="slides/slide1089.xml"/><Relationship Id="rId1094" Type="http://schemas.openxmlformats.org/officeDocument/2006/relationships/slide" Target="slides/slide1090.xml"/><Relationship Id="rId1095" Type="http://schemas.openxmlformats.org/officeDocument/2006/relationships/slide" Target="slides/slide1091.xml"/><Relationship Id="rId1096" Type="http://schemas.openxmlformats.org/officeDocument/2006/relationships/slide" Target="slides/slide1092.xml"/><Relationship Id="rId1097" Type="http://schemas.openxmlformats.org/officeDocument/2006/relationships/slide" Target="slides/slide1093.xml"/><Relationship Id="rId1098" Type="http://schemas.openxmlformats.org/officeDocument/2006/relationships/slide" Target="slides/slide1094.xml"/><Relationship Id="rId1099" Type="http://schemas.openxmlformats.org/officeDocument/2006/relationships/slide" Target="slides/slide1095.xml"/><Relationship Id="rId1100" Type="http://schemas.openxmlformats.org/officeDocument/2006/relationships/slide" Target="slides/slide1096.xml"/><Relationship Id="rId1101" Type="http://schemas.openxmlformats.org/officeDocument/2006/relationships/slide" Target="slides/slide1097.xml"/><Relationship Id="rId1102" Type="http://schemas.openxmlformats.org/officeDocument/2006/relationships/slide" Target="slides/slide1098.xml"/><Relationship Id="rId1103" Type="http://schemas.openxmlformats.org/officeDocument/2006/relationships/slide" Target="slides/slide1099.xml"/><Relationship Id="rId1104" Type="http://schemas.openxmlformats.org/officeDocument/2006/relationships/slide" Target="slides/slide1100.xml"/><Relationship Id="rId1105" Type="http://schemas.openxmlformats.org/officeDocument/2006/relationships/slide" Target="slides/slide1101.xml"/><Relationship Id="rId1106" Type="http://schemas.openxmlformats.org/officeDocument/2006/relationships/slide" Target="slides/slide1102.xml"/><Relationship Id="rId1107" Type="http://schemas.openxmlformats.org/officeDocument/2006/relationships/slide" Target="slides/slide1103.xml"/><Relationship Id="rId1108" Type="http://schemas.openxmlformats.org/officeDocument/2006/relationships/slide" Target="slides/slide1104.xml"/><Relationship Id="rId1109" Type="http://schemas.openxmlformats.org/officeDocument/2006/relationships/slide" Target="slides/slide1105.xml"/><Relationship Id="rId1110" Type="http://schemas.openxmlformats.org/officeDocument/2006/relationships/slide" Target="slides/slide1106.xml"/><Relationship Id="rId1111" Type="http://schemas.openxmlformats.org/officeDocument/2006/relationships/slide" Target="slides/slide1107.xml"/><Relationship Id="rId1112" Type="http://schemas.openxmlformats.org/officeDocument/2006/relationships/slide" Target="slides/slide1108.xml"/><Relationship Id="rId1113" Type="http://schemas.openxmlformats.org/officeDocument/2006/relationships/slide" Target="slides/slide1109.xml"/><Relationship Id="rId1114" Type="http://schemas.openxmlformats.org/officeDocument/2006/relationships/slide" Target="slides/slide1110.xml"/><Relationship Id="rId1115" Type="http://schemas.openxmlformats.org/officeDocument/2006/relationships/slide" Target="slides/slide1111.xml"/><Relationship Id="rId1116" Type="http://schemas.openxmlformats.org/officeDocument/2006/relationships/slide" Target="slides/slide1112.xml"/><Relationship Id="rId1117" Type="http://schemas.openxmlformats.org/officeDocument/2006/relationships/slide" Target="slides/slide1113.xml"/><Relationship Id="rId1118" Type="http://schemas.openxmlformats.org/officeDocument/2006/relationships/slide" Target="slides/slide1114.xml"/><Relationship Id="rId1119" Type="http://schemas.openxmlformats.org/officeDocument/2006/relationships/slide" Target="slides/slide1115.xml"/><Relationship Id="rId1120" Type="http://schemas.openxmlformats.org/officeDocument/2006/relationships/slide" Target="slides/slide1116.xml"/><Relationship Id="rId1121" Type="http://schemas.openxmlformats.org/officeDocument/2006/relationships/slide" Target="slides/slide1117.xml"/><Relationship Id="rId1122" Type="http://schemas.openxmlformats.org/officeDocument/2006/relationships/slide" Target="slides/slide1118.xml"/><Relationship Id="rId1123" Type="http://schemas.openxmlformats.org/officeDocument/2006/relationships/slide" Target="slides/slide1119.xml"/><Relationship Id="rId1124" Type="http://schemas.openxmlformats.org/officeDocument/2006/relationships/slide" Target="slides/slide1120.xml"/><Relationship Id="rId1125" Type="http://schemas.openxmlformats.org/officeDocument/2006/relationships/slide" Target="slides/slide1121.xml"/><Relationship Id="rId1126" Type="http://schemas.openxmlformats.org/officeDocument/2006/relationships/slide" Target="slides/slide1122.xml"/><Relationship Id="rId1127" Type="http://schemas.openxmlformats.org/officeDocument/2006/relationships/slide" Target="slides/slide1123.xml"/><Relationship Id="rId1128" Type="http://schemas.openxmlformats.org/officeDocument/2006/relationships/slide" Target="slides/slide1124.xml"/><Relationship Id="rId1129" Type="http://schemas.openxmlformats.org/officeDocument/2006/relationships/slide" Target="slides/slide1125.xml"/><Relationship Id="rId1130" Type="http://schemas.openxmlformats.org/officeDocument/2006/relationships/slide" Target="slides/slide1126.xml"/><Relationship Id="rId1131" Type="http://schemas.openxmlformats.org/officeDocument/2006/relationships/slide" Target="slides/slide1127.xml"/><Relationship Id="rId1132" Type="http://schemas.openxmlformats.org/officeDocument/2006/relationships/slide" Target="slides/slide1128.xml"/><Relationship Id="rId1133" Type="http://schemas.openxmlformats.org/officeDocument/2006/relationships/slide" Target="slides/slide1129.xml"/><Relationship Id="rId1134" Type="http://schemas.openxmlformats.org/officeDocument/2006/relationships/slide" Target="slides/slide1130.xml"/><Relationship Id="rId1135" Type="http://schemas.openxmlformats.org/officeDocument/2006/relationships/slide" Target="slides/slide1131.xml"/><Relationship Id="rId1136" Type="http://schemas.openxmlformats.org/officeDocument/2006/relationships/slide" Target="slides/slide1132.xml"/><Relationship Id="rId1137" Type="http://schemas.openxmlformats.org/officeDocument/2006/relationships/slide" Target="slides/slide1133.xml"/><Relationship Id="rId1138" Type="http://schemas.openxmlformats.org/officeDocument/2006/relationships/slide" Target="slides/slide1134.xml"/><Relationship Id="rId1139" Type="http://schemas.openxmlformats.org/officeDocument/2006/relationships/slide" Target="slides/slide1135.xml"/><Relationship Id="rId1140" Type="http://schemas.openxmlformats.org/officeDocument/2006/relationships/slide" Target="slides/slide1136.xml"/><Relationship Id="rId1141" Type="http://schemas.openxmlformats.org/officeDocument/2006/relationships/slide" Target="slides/slide1137.xml"/><Relationship Id="rId1142" Type="http://schemas.openxmlformats.org/officeDocument/2006/relationships/slide" Target="slides/slide1138.xml"/><Relationship Id="rId1143" Type="http://schemas.openxmlformats.org/officeDocument/2006/relationships/slide" Target="slides/slide1139.xml"/><Relationship Id="rId1144" Type="http://schemas.openxmlformats.org/officeDocument/2006/relationships/slide" Target="slides/slide1140.xml"/><Relationship Id="rId1145" Type="http://schemas.openxmlformats.org/officeDocument/2006/relationships/slide" Target="slides/slide1141.xml"/><Relationship Id="rId1146" Type="http://schemas.openxmlformats.org/officeDocument/2006/relationships/slide" Target="slides/slide1142.xml"/><Relationship Id="rId1147" Type="http://schemas.openxmlformats.org/officeDocument/2006/relationships/slide" Target="slides/slide1143.xml"/><Relationship Id="rId1148" Type="http://schemas.openxmlformats.org/officeDocument/2006/relationships/slide" Target="slides/slide1144.xml"/><Relationship Id="rId1149" Type="http://schemas.openxmlformats.org/officeDocument/2006/relationships/slide" Target="slides/slide1145.xml"/><Relationship Id="rId1150" Type="http://schemas.openxmlformats.org/officeDocument/2006/relationships/slide" Target="slides/slide1146.xml"/><Relationship Id="rId1151" Type="http://schemas.openxmlformats.org/officeDocument/2006/relationships/slide" Target="slides/slide1147.xml"/><Relationship Id="rId1152" Type="http://schemas.openxmlformats.org/officeDocument/2006/relationships/slide" Target="slides/slide1148.xml"/><Relationship Id="rId1153" Type="http://schemas.openxmlformats.org/officeDocument/2006/relationships/slide" Target="slides/slide1149.xml"/><Relationship Id="rId1154" Type="http://schemas.openxmlformats.org/officeDocument/2006/relationships/slide" Target="slides/slide1150.xml"/><Relationship Id="rId1155" Type="http://schemas.openxmlformats.org/officeDocument/2006/relationships/slide" Target="slides/slide1151.xml"/><Relationship Id="rId1156" Type="http://schemas.openxmlformats.org/officeDocument/2006/relationships/slide" Target="slides/slide1152.xml"/><Relationship Id="rId1157" Type="http://schemas.openxmlformats.org/officeDocument/2006/relationships/slide" Target="slides/slide1153.xml"/><Relationship Id="rId1158" Type="http://schemas.openxmlformats.org/officeDocument/2006/relationships/slide" Target="slides/slide1154.xml"/><Relationship Id="rId1159" Type="http://schemas.openxmlformats.org/officeDocument/2006/relationships/slide" Target="slides/slide1155.xml"/><Relationship Id="rId1160" Type="http://schemas.openxmlformats.org/officeDocument/2006/relationships/slide" Target="slides/slide1156.xml"/><Relationship Id="rId1161" Type="http://schemas.openxmlformats.org/officeDocument/2006/relationships/slide" Target="slides/slide1157.xml"/><Relationship Id="rId1162" Type="http://schemas.openxmlformats.org/officeDocument/2006/relationships/slide" Target="slides/slide1158.xml"/><Relationship Id="rId1163" Type="http://schemas.openxmlformats.org/officeDocument/2006/relationships/slide" Target="slides/slide1159.xml"/><Relationship Id="rId1164" Type="http://schemas.openxmlformats.org/officeDocument/2006/relationships/slide" Target="slides/slide1160.xml"/><Relationship Id="rId1165" Type="http://schemas.openxmlformats.org/officeDocument/2006/relationships/slide" Target="slides/slide1161.xml"/><Relationship Id="rId1166" Type="http://schemas.openxmlformats.org/officeDocument/2006/relationships/slide" Target="slides/slide1162.xml"/><Relationship Id="rId1167" Type="http://schemas.openxmlformats.org/officeDocument/2006/relationships/slide" Target="slides/slide1163.xml"/><Relationship Id="rId1168" Type="http://schemas.openxmlformats.org/officeDocument/2006/relationships/slide" Target="slides/slide1164.xml"/><Relationship Id="rId1169" Type="http://schemas.openxmlformats.org/officeDocument/2006/relationships/slide" Target="slides/slide1165.xml"/><Relationship Id="rId1170" Type="http://schemas.openxmlformats.org/officeDocument/2006/relationships/slide" Target="slides/slide1166.xml"/><Relationship Id="rId1171" Type="http://schemas.openxmlformats.org/officeDocument/2006/relationships/slide" Target="slides/slide1167.xml"/><Relationship Id="rId1172" Type="http://schemas.openxmlformats.org/officeDocument/2006/relationships/slide" Target="slides/slide1168.xml"/><Relationship Id="rId1173" Type="http://schemas.openxmlformats.org/officeDocument/2006/relationships/slide" Target="slides/slide1169.xml"/><Relationship Id="rId1174" Type="http://schemas.openxmlformats.org/officeDocument/2006/relationships/slide" Target="slides/slide1170.xml"/><Relationship Id="rId1175" Type="http://schemas.openxmlformats.org/officeDocument/2006/relationships/slide" Target="slides/slide1171.xml"/><Relationship Id="rId1176" Type="http://schemas.openxmlformats.org/officeDocument/2006/relationships/slide" Target="slides/slide1172.xml"/><Relationship Id="rId1177" Type="http://schemas.openxmlformats.org/officeDocument/2006/relationships/slide" Target="slides/slide1173.xml"/><Relationship Id="rId1178" Type="http://schemas.openxmlformats.org/officeDocument/2006/relationships/slide" Target="slides/slide1174.xml"/><Relationship Id="rId1179" Type="http://schemas.openxmlformats.org/officeDocument/2006/relationships/slide" Target="slides/slide1175.xml"/><Relationship Id="rId1180" Type="http://schemas.openxmlformats.org/officeDocument/2006/relationships/slide" Target="slides/slide1176.xml"/><Relationship Id="rId1181" Type="http://schemas.openxmlformats.org/officeDocument/2006/relationships/slide" Target="slides/slide1177.xml"/><Relationship Id="rId1182" Type="http://schemas.openxmlformats.org/officeDocument/2006/relationships/slide" Target="slides/slide1178.xml"/><Relationship Id="rId1183" Type="http://schemas.openxmlformats.org/officeDocument/2006/relationships/slide" Target="slides/slide1179.xml"/><Relationship Id="rId1184" Type="http://schemas.openxmlformats.org/officeDocument/2006/relationships/slide" Target="slides/slide1180.xml"/><Relationship Id="rId1185" Type="http://schemas.openxmlformats.org/officeDocument/2006/relationships/slide" Target="slides/slide1181.xml"/><Relationship Id="rId1186" Type="http://schemas.openxmlformats.org/officeDocument/2006/relationships/slide" Target="slides/slide1182.xml"/><Relationship Id="rId1187" Type="http://schemas.openxmlformats.org/officeDocument/2006/relationships/slide" Target="slides/slide1183.xml"/><Relationship Id="rId1188" Type="http://schemas.openxmlformats.org/officeDocument/2006/relationships/slide" Target="slides/slide1184.xml"/><Relationship Id="rId1189" Type="http://schemas.openxmlformats.org/officeDocument/2006/relationships/slide" Target="slides/slide1185.xml"/><Relationship Id="rId1190" Type="http://schemas.openxmlformats.org/officeDocument/2006/relationships/slide" Target="slides/slide1186.xml"/><Relationship Id="rId1191" Type="http://schemas.openxmlformats.org/officeDocument/2006/relationships/slide" Target="slides/slide1187.xml"/><Relationship Id="rId1192" Type="http://schemas.openxmlformats.org/officeDocument/2006/relationships/slide" Target="slides/slide1188.xml"/><Relationship Id="rId1193" Type="http://schemas.openxmlformats.org/officeDocument/2006/relationships/notesMaster" Target="notesMasters/notesMaster1.xml"/><Relationship Id="rId1194" Type="http://schemas.openxmlformats.org/officeDocument/2006/relationships/presProps" Target="presProps.xml"/><Relationship Id="rId1195" Type="http://schemas.openxmlformats.org/officeDocument/2006/relationships/viewProps" Target="viewProps.xml"/><Relationship Id="rId1196" Type="http://schemas.openxmlformats.org/officeDocument/2006/relationships/theme" Target="theme/theme1.xml"/><Relationship Id="rId1197" Type="http://schemas.openxmlformats.org/officeDocument/2006/relationships/tableStyles" Target="tableStyles.xml"/><Relationship Id="rId1198" Type="http://schemas.microsoft.com/office/2015/10/relationships/revisionInfo" Target="revisionInfo.xml"/><Relationship Id="rId1199" Type="http://schemas.microsoft.com/office/2018/10/relationships/authors" Target="authors.xml"/></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0.xml.rels><?xml version='1.0' encoding='UTF-8' standalone='yes'?>
<Relationships xmlns="http://schemas.openxmlformats.org/package/2006/relationships"><Relationship Id="rId1" Type="http://schemas.openxmlformats.org/officeDocument/2006/relationships/package" Target="../embeddings/Microsoft_Excel_Worksheet1169.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83.xml.rels><?xml version='1.0' encoding='UTF-8' standalone='yes'?>
<Relationships xmlns="http://schemas.openxmlformats.org/package/2006/relationships"><Relationship Id="rId1" Type="http://schemas.openxmlformats.org/officeDocument/2006/relationships/package" Target="../embeddings/Microsoft_Excel_Worksheet1182.xlsx"/></Relationships>
</file>

<file path=ppt/charts/_rels/chart1184.xml.rels><?xml version='1.0' encoding='UTF-8' standalone='yes'?>
<Relationships xmlns="http://schemas.openxmlformats.org/package/2006/relationships"><Relationship Id="rId1" Type="http://schemas.openxmlformats.org/officeDocument/2006/relationships/package" Target="../embeddings/Microsoft_Excel_Worksheet1183.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1.xml.rels><?xml version='1.0' encoding='UTF-8' standalone='yes'?>
<Relationships xmlns="http://schemas.openxmlformats.org/package/2006/relationships"><Relationship Id="rId1"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package" Target="../embeddings/Microsoft_Excel_Worksheet1201.xlsx"/></Relationships>
</file>

<file path=ppt/charts/_rels/chart1203.xml.rels><?xml version='1.0' encoding='UTF-8' standalone='yes'?>
<Relationships xmlns="http://schemas.openxmlformats.org/package/2006/relationships"><Relationship Id="rId1"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package" Target="../embeddings/Microsoft_Excel_Worksheet1203.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15.xml.rels><?xml version='1.0' encoding='UTF-8' standalone='yes'?>
<Relationships xmlns="http://schemas.openxmlformats.org/package/2006/relationships"><Relationship Id="rId1" Type="http://schemas.openxmlformats.org/officeDocument/2006/relationships/package" Target="../embeddings/Microsoft_Excel_Worksheet1214.xlsx"/></Relationships>
</file>

<file path=ppt/charts/_rels/chart1216.xml.rels><?xml version='1.0' encoding='UTF-8' standalone='yes'?>
<Relationships xmlns="http://schemas.openxmlformats.org/package/2006/relationships"><Relationship Id="rId1" Type="http://schemas.openxmlformats.org/officeDocument/2006/relationships/package" Target="../embeddings/Microsoft_Excel_Worksheet1215.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5.xml.rels><?xml version='1.0' encoding='UTF-8' standalone='yes'?>
<Relationships xmlns="http://schemas.openxmlformats.org/package/2006/relationships"><Relationship Id="rId1" Type="http://schemas.openxmlformats.org/officeDocument/2006/relationships/package" Target="../embeddings/Microsoft_Excel_Worksheet1244.xlsx"/></Relationships>
</file>

<file path=ppt/charts/_rels/chart1246.xml.rels><?xml version='1.0' encoding='UTF-8' standalone='yes'?>
<Relationships xmlns="http://schemas.openxmlformats.org/package/2006/relationships"><Relationship Id="rId1" Type="http://schemas.openxmlformats.org/officeDocument/2006/relationships/package" Target="../embeddings/Microsoft_Excel_Worksheet1245.xlsx"/></Relationships>
</file>

<file path=ppt/charts/_rels/chart1247.xml.rels><?xml version='1.0' encoding='UTF-8' standalone='yes'?>
<Relationships xmlns="http://schemas.openxmlformats.org/package/2006/relationships"><Relationship Id="rId1" Type="http://schemas.openxmlformats.org/officeDocument/2006/relationships/package" Target="../embeddings/Microsoft_Excel_Worksheet1246.xlsx"/></Relationships>
</file>

<file path=ppt/charts/_rels/chart1248.xml.rels><?xml version='1.0' encoding='UTF-8' standalone='yes'?>
<Relationships xmlns="http://schemas.openxmlformats.org/package/2006/relationships"><Relationship Id="rId1" Type="http://schemas.openxmlformats.org/officeDocument/2006/relationships/package" Target="../embeddings/Microsoft_Excel_Worksheet1247.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59.xml.rels><?xml version='1.0' encoding='UTF-8' standalone='yes'?>
<Relationships xmlns="http://schemas.openxmlformats.org/package/2006/relationships"><Relationship Id="rId1" Type="http://schemas.openxmlformats.org/officeDocument/2006/relationships/package" Target="../embeddings/Microsoft_Excel_Worksheet1258.xlsx"/></Relationships>
</file>

<file path=ppt/charts/_rels/chart1260.xml.rels><?xml version='1.0' encoding='UTF-8' standalone='yes'?>
<Relationships xmlns="http://schemas.openxmlformats.org/package/2006/relationships"><Relationship Id="rId1" Type="http://schemas.openxmlformats.org/officeDocument/2006/relationships/package" Target="../embeddings/Microsoft_Excel_Worksheet1259.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73.xml.rels><?xml version='1.0' encoding='UTF-8' standalone='yes'?>
<Relationships xmlns="http://schemas.openxmlformats.org/package/2006/relationships"><Relationship Id="rId1" Type="http://schemas.openxmlformats.org/officeDocument/2006/relationships/package" Target="../embeddings/Microsoft_Excel_Worksheet1272.xlsx"/></Relationships>
</file>

<file path=ppt/charts/_rels/chart1274.xml.rels><?xml version='1.0' encoding='UTF-8' standalone='yes'?>
<Relationships xmlns="http://schemas.openxmlformats.org/package/2006/relationships"><Relationship Id="rId1" Type="http://schemas.openxmlformats.org/officeDocument/2006/relationships/package" Target="../embeddings/Microsoft_Excel_Worksheet1273.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303.xml.rels><?xml version='1.0' encoding='UTF-8' standalone='yes'?>
<Relationships xmlns="http://schemas.openxmlformats.org/package/2006/relationships"><Relationship Id="rId1"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package" Target="../embeddings/Microsoft_Excel_Worksheet1303.xlsx"/></Relationships>
</file>

<file path=ppt/charts/_rels/chart1305.xml.rels><?xml version='1.0' encoding='UTF-8' standalone='yes'?>
<Relationships xmlns="http://schemas.openxmlformats.org/package/2006/relationships"><Relationship Id="rId1" Type="http://schemas.openxmlformats.org/officeDocument/2006/relationships/package" Target="../embeddings/Microsoft_Excel_Worksheet1304.xlsx"/></Relationships>
</file>

<file path=ppt/charts/_rels/chart1306.xml.rels><?xml version='1.0' encoding='UTF-8' standalone='yes'?>
<Relationships xmlns="http://schemas.openxmlformats.org/package/2006/relationships"><Relationship Id="rId1" Type="http://schemas.openxmlformats.org/officeDocument/2006/relationships/package" Target="../embeddings/Microsoft_Excel_Worksheet1305.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7.xml.rels><?xml version='1.0' encoding='UTF-8' standalone='yes'?>
<Relationships xmlns="http://schemas.openxmlformats.org/package/2006/relationships"><Relationship Id="rId1"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1.xml.rels><?xml version='1.0' encoding='UTF-8' standalone='yes'?>
<Relationships xmlns="http://schemas.openxmlformats.org/package/2006/relationships"><Relationship Id="rId1"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openxmlformats.org/officeDocument/2006/relationships/package" Target="../embeddings/Microsoft_Excel_Worksheet1331.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47.xml.rels><?xml version='1.0' encoding='UTF-8' standalone='yes'?>
<Relationships xmlns="http://schemas.openxmlformats.org/package/2006/relationships"><Relationship Id="rId1" Type="http://schemas.openxmlformats.org/officeDocument/2006/relationships/package" Target="../embeddings/Microsoft_Excel_Worksheet1346.xlsx"/></Relationships>
</file>

<file path=ppt/charts/_rels/chart1348.xml.rels><?xml version='1.0' encoding='UTF-8' standalone='yes'?>
<Relationships xmlns="http://schemas.openxmlformats.org/package/2006/relationships"><Relationship Id="rId1" Type="http://schemas.openxmlformats.org/officeDocument/2006/relationships/package" Target="../embeddings/Microsoft_Excel_Worksheet1347.xlsx"/></Relationships>
</file>

<file path=ppt/charts/_rels/chart1349.xml.rels><?xml version='1.0' encoding='UTF-8' standalone='yes'?>
<Relationships xmlns="http://schemas.openxmlformats.org/package/2006/relationships"><Relationship Id="rId1" Type="http://schemas.openxmlformats.org/officeDocument/2006/relationships/package" Target="../embeddings/Microsoft_Excel_Worksheet1348.xlsx"/></Relationships>
</file>

<file path=ppt/charts/_rels/chart1350.xml.rels><?xml version='1.0' encoding='UTF-8' standalone='yes'?>
<Relationships xmlns="http://schemas.openxmlformats.org/package/2006/relationships"><Relationship Id="rId1" Type="http://schemas.openxmlformats.org/officeDocument/2006/relationships/package" Target="../embeddings/Microsoft_Excel_Worksheet1349.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61.xml.rels><?xml version='1.0' encoding='UTF-8' standalone='yes'?>
<Relationships xmlns="http://schemas.openxmlformats.org/package/2006/relationships"><Relationship Id="rId1" Type="http://schemas.openxmlformats.org/officeDocument/2006/relationships/package" Target="../embeddings/Microsoft_Excel_Worksheet1360.xlsx"/></Relationships>
</file>

<file path=ppt/charts/_rels/chart1362.xml.rels><?xml version='1.0' encoding='UTF-8' standalone='yes'?>
<Relationships xmlns="http://schemas.openxmlformats.org/package/2006/relationships"><Relationship Id="rId1" Type="http://schemas.openxmlformats.org/officeDocument/2006/relationships/package" Target="../embeddings/Microsoft_Excel_Worksheet1361.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75.xml.rels><?xml version='1.0' encoding='UTF-8' standalone='yes'?>
<Relationships xmlns="http://schemas.openxmlformats.org/package/2006/relationships"><Relationship Id="rId1" Type="http://schemas.openxmlformats.org/officeDocument/2006/relationships/package" Target="../embeddings/Microsoft_Excel_Worksheet1374.xlsx"/></Relationships>
</file>

<file path=ppt/charts/_rels/chart1376.xml.rels><?xml version='1.0' encoding='UTF-8' standalone='yes'?>
<Relationships xmlns="http://schemas.openxmlformats.org/package/2006/relationships"><Relationship Id="rId1" Type="http://schemas.openxmlformats.org/officeDocument/2006/relationships/package" Target="../embeddings/Microsoft_Excel_Worksheet1375.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393.xml.rels><?xml version='1.0' encoding='UTF-8' standalone='yes'?>
<Relationships xmlns="http://schemas.openxmlformats.org/package/2006/relationships"><Relationship Id="rId1" Type="http://schemas.openxmlformats.org/officeDocument/2006/relationships/package" Target="../embeddings/Microsoft_Excel_Worksheet1392.xlsx"/></Relationships>
</file>

<file path=ppt/charts/_rels/chart1394.xml.rels><?xml version='1.0' encoding='UTF-8' standalone='yes'?>
<Relationships xmlns="http://schemas.openxmlformats.org/package/2006/relationships"><Relationship Id="rId1" Type="http://schemas.openxmlformats.org/officeDocument/2006/relationships/package" Target="../embeddings/Microsoft_Excel_Worksheet1393.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25.xml.rels><?xml version='1.0' encoding='UTF-8' standalone='yes'?>
<Relationships xmlns="http://schemas.openxmlformats.org/package/2006/relationships"><Relationship Id="rId1" Type="http://schemas.openxmlformats.org/officeDocument/2006/relationships/package" Target="../embeddings/Microsoft_Excel_Worksheet1424.xlsx"/></Relationships>
</file>

<file path=ppt/charts/_rels/chart1426.xml.rels><?xml version='1.0' encoding='UTF-8' standalone='yes'?>
<Relationships xmlns="http://schemas.openxmlformats.org/package/2006/relationships"><Relationship Id="rId1" Type="http://schemas.openxmlformats.org/officeDocument/2006/relationships/package" Target="../embeddings/Microsoft_Excel_Worksheet1425.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37.xml.rels><?xml version='1.0' encoding='UTF-8' standalone='yes'?>
<Relationships xmlns="http://schemas.openxmlformats.org/package/2006/relationships"><Relationship Id="rId1" Type="http://schemas.openxmlformats.org/officeDocument/2006/relationships/package" Target="../embeddings/Microsoft_Excel_Worksheet1436.xlsx"/></Relationships>
</file>

<file path=ppt/charts/_rels/chart1438.xml.rels><?xml version='1.0' encoding='UTF-8' standalone='yes'?>
<Relationships xmlns="http://schemas.openxmlformats.org/package/2006/relationships"><Relationship Id="rId1" Type="http://schemas.openxmlformats.org/officeDocument/2006/relationships/package" Target="../embeddings/Microsoft_Excel_Worksheet1437.xlsx"/></Relationships>
</file>

<file path=ppt/charts/_rels/chart1439.xml.rels><?xml version='1.0' encoding='UTF-8' standalone='yes'?>
<Relationships xmlns="http://schemas.openxmlformats.org/package/2006/relationships"><Relationship Id="rId1" Type="http://schemas.openxmlformats.org/officeDocument/2006/relationships/package" Target="../embeddings/Microsoft_Excel_Worksheet1438.xlsx"/></Relationships>
</file>

<file path=ppt/charts/_rels/chart1440.xml.rels><?xml version='1.0' encoding='UTF-8' standalone='yes'?>
<Relationships xmlns="http://schemas.openxmlformats.org/package/2006/relationships"><Relationship Id="rId1" Type="http://schemas.openxmlformats.org/officeDocument/2006/relationships/package" Target="../embeddings/Microsoft_Excel_Worksheet1439.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1.xml.rels><?xml version='1.0' encoding='UTF-8' standalone='yes'?>
<Relationships xmlns="http://schemas.openxmlformats.org/package/2006/relationships"><Relationship Id="rId1" Type="http://schemas.openxmlformats.org/officeDocument/2006/relationships/package" Target="../embeddings/Microsoft_Excel_Worksheet1450.xlsx"/></Relationships>
</file>

<file path=ppt/charts/_rels/chart1452.xml.rels><?xml version='1.0' encoding='UTF-8' standalone='yes'?>
<Relationships xmlns="http://schemas.openxmlformats.org/package/2006/relationships"><Relationship Id="rId1" Type="http://schemas.openxmlformats.org/officeDocument/2006/relationships/package" Target="../embeddings/Microsoft_Excel_Worksheet1451.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69.xml.rels><?xml version='1.0' encoding='UTF-8' standalone='yes'?>
<Relationships xmlns="http://schemas.openxmlformats.org/package/2006/relationships"><Relationship Id="rId1" Type="http://schemas.openxmlformats.org/officeDocument/2006/relationships/package" Target="../embeddings/Microsoft_Excel_Worksheet1468.xlsx"/></Relationships>
</file>

<file path=ppt/charts/_rels/chart1470.xml.rels><?xml version='1.0' encoding='UTF-8' standalone='yes'?>
<Relationships xmlns="http://schemas.openxmlformats.org/package/2006/relationships"><Relationship Id="rId1" Type="http://schemas.openxmlformats.org/officeDocument/2006/relationships/package" Target="../embeddings/Microsoft_Excel_Worksheet1469.xlsx"/></Relationships>
</file>

<file path=ppt/charts/_rels/chart1473.xml.rels><?xml version='1.0' encoding='UTF-8' standalone='yes'?>
<Relationships xmlns="http://schemas.openxmlformats.org/package/2006/relationships"><Relationship Id="rId1" Type="http://schemas.openxmlformats.org/officeDocument/2006/relationships/package" Target="../embeddings/Microsoft_Excel_Worksheet1472.xlsx"/></Relationships>
</file>

<file path=ppt/charts/_rels/chart1474.xml.rels><?xml version='1.0' encoding='UTF-8' standalone='yes'?>
<Relationships xmlns="http://schemas.openxmlformats.org/package/2006/relationships"><Relationship Id="rId1" Type="http://schemas.openxmlformats.org/officeDocument/2006/relationships/package" Target="../embeddings/Microsoft_Excel_Worksheet1473.xlsx"/></Relationships>
</file>

<file path=ppt/charts/_rels/chart1475.xml.rels><?xml version='1.0' encoding='UTF-8' standalone='yes'?>
<Relationships xmlns="http://schemas.openxmlformats.org/package/2006/relationships"><Relationship Id="rId1" Type="http://schemas.openxmlformats.org/officeDocument/2006/relationships/package" Target="../embeddings/Microsoft_Excel_Worksheet1474.xlsx"/></Relationships>
</file>

<file path=ppt/charts/_rels/chart1476.xml.rels><?xml version='1.0' encoding='UTF-8' standalone='yes'?>
<Relationships xmlns="http://schemas.openxmlformats.org/package/2006/relationships"><Relationship Id="rId1" Type="http://schemas.openxmlformats.org/officeDocument/2006/relationships/package" Target="../embeddings/Microsoft_Excel_Worksheet1475.xlsx"/></Relationships>
</file>

<file path=ppt/charts/_rels/chart1481.xml.rels><?xml version='1.0' encoding='UTF-8' standalone='yes'?>
<Relationships xmlns="http://schemas.openxmlformats.org/package/2006/relationships"><Relationship Id="rId1" Type="http://schemas.openxmlformats.org/officeDocument/2006/relationships/package" Target="../embeddings/Microsoft_Excel_Worksheet1480.xlsx"/></Relationships>
</file>

<file path=ppt/charts/_rels/chart1482.xml.rels><?xml version='1.0' encoding='UTF-8' standalone='yes'?>
<Relationships xmlns="http://schemas.openxmlformats.org/package/2006/relationships"><Relationship Id="rId1" Type="http://schemas.openxmlformats.org/officeDocument/2006/relationships/package" Target="../embeddings/Microsoft_Excel_Worksheet1481.xlsx"/></Relationships>
</file>

<file path=ppt/charts/_rels/chart1483.xml.rels><?xml version='1.0' encoding='UTF-8' standalone='yes'?>
<Relationships xmlns="http://schemas.openxmlformats.org/package/2006/relationships"><Relationship Id="rId1" Type="http://schemas.openxmlformats.org/officeDocument/2006/relationships/package" Target="../embeddings/Microsoft_Excel_Worksheet1482.xlsx"/></Relationships>
</file>

<file path=ppt/charts/_rels/chart1484.xml.rels><?xml version='1.0' encoding='UTF-8' standalone='yes'?>
<Relationships xmlns="http://schemas.openxmlformats.org/package/2006/relationships"><Relationship Id="rId1" Type="http://schemas.openxmlformats.org/officeDocument/2006/relationships/package" Target="../embeddings/Microsoft_Excel_Worksheet1483.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495.xml.rels><?xml version='1.0' encoding='UTF-8' standalone='yes'?>
<Relationships xmlns="http://schemas.openxmlformats.org/package/2006/relationships"><Relationship Id="rId1" Type="http://schemas.openxmlformats.org/officeDocument/2006/relationships/package" Target="../embeddings/Microsoft_Excel_Worksheet1494.xlsx"/></Relationships>
</file>

<file path=ppt/charts/_rels/chart1496.xml.rels><?xml version='1.0' encoding='UTF-8' standalone='yes'?>
<Relationships xmlns="http://schemas.openxmlformats.org/package/2006/relationships"><Relationship Id="rId1" Type="http://schemas.openxmlformats.org/officeDocument/2006/relationships/package" Target="../embeddings/Microsoft_Excel_Worksheet1495.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03.xml.rels><?xml version='1.0' encoding='UTF-8' standalone='yes'?>
<Relationships xmlns="http://schemas.openxmlformats.org/package/2006/relationships"><Relationship Id="rId1" Type="http://schemas.openxmlformats.org/officeDocument/2006/relationships/package" Target="../embeddings/Microsoft_Excel_Worksheet1502.xlsx"/></Relationships>
</file>

<file path=ppt/charts/_rels/chart1504.xml.rels><?xml version='1.0' encoding='UTF-8' standalone='yes'?>
<Relationships xmlns="http://schemas.openxmlformats.org/package/2006/relationships"><Relationship Id="rId1" Type="http://schemas.openxmlformats.org/officeDocument/2006/relationships/package" Target="../embeddings/Microsoft_Excel_Worksheet1503.xlsx"/></Relationships>
</file>

<file path=ppt/charts/_rels/chart1505.xml.rels><?xml version='1.0' encoding='UTF-8' standalone='yes'?>
<Relationships xmlns="http://schemas.openxmlformats.org/package/2006/relationships"><Relationship Id="rId1" Type="http://schemas.openxmlformats.org/officeDocument/2006/relationships/package" Target="../embeddings/Microsoft_Excel_Worksheet1504.xlsx"/></Relationships>
</file>

<file path=ppt/charts/_rels/chart1506.xml.rels><?xml version='1.0' encoding='UTF-8' standalone='yes'?>
<Relationships xmlns="http://schemas.openxmlformats.org/package/2006/relationships"><Relationship Id="rId1" Type="http://schemas.openxmlformats.org/officeDocument/2006/relationships/package" Target="../embeddings/Microsoft_Excel_Worksheet1505.xlsx"/></Relationships>
</file>

<file path=ppt/charts/_rels/chart1517.xml.rels><?xml version='1.0' encoding='UTF-8' standalone='yes'?>
<Relationships xmlns="http://schemas.openxmlformats.org/package/2006/relationships"><Relationship Id="rId1" Type="http://schemas.openxmlformats.org/officeDocument/2006/relationships/package" Target="../embeddings/Microsoft_Excel_Worksheet1516.xlsx"/></Relationships>
</file>

<file path=ppt/charts/_rels/chart1518.xml.rels><?xml version='1.0' encoding='UTF-8' standalone='yes'?>
<Relationships xmlns="http://schemas.openxmlformats.org/package/2006/relationships"><Relationship Id="rId1" Type="http://schemas.openxmlformats.org/officeDocument/2006/relationships/package" Target="../embeddings/Microsoft_Excel_Worksheet1517.xlsx"/></Relationships>
</file>

<file path=ppt/charts/_rels/chart1519.xml.rels><?xml version='1.0' encoding='UTF-8' standalone='yes'?>
<Relationships xmlns="http://schemas.openxmlformats.org/package/2006/relationships"><Relationship Id="rId1" Type="http://schemas.openxmlformats.org/officeDocument/2006/relationships/package" Target="../embeddings/Microsoft_Excel_Worksheet1518.xlsx"/></Relationships>
</file>

<file path=ppt/charts/_rels/chart1520.xml.rels><?xml version='1.0' encoding='UTF-8' standalone='yes'?>
<Relationships xmlns="http://schemas.openxmlformats.org/package/2006/relationships"><Relationship Id="rId1" Type="http://schemas.openxmlformats.org/officeDocument/2006/relationships/package" Target="../embeddings/Microsoft_Excel_Worksheet1519.xlsx"/></Relationships>
</file>

<file path=ppt/charts/_rels/chart1525.xml.rels><?xml version='1.0' encoding='UTF-8' standalone='yes'?>
<Relationships xmlns="http://schemas.openxmlformats.org/package/2006/relationships"><Relationship Id="rId1" Type="http://schemas.openxmlformats.org/officeDocument/2006/relationships/package" Target="../embeddings/Microsoft_Excel_Worksheet1524.xlsx"/></Relationships>
</file>

<file path=ppt/charts/_rels/chart1526.xml.rels><?xml version='1.0' encoding='UTF-8' standalone='yes'?>
<Relationships xmlns="http://schemas.openxmlformats.org/package/2006/relationships"><Relationship Id="rId1" Type="http://schemas.openxmlformats.org/officeDocument/2006/relationships/package" Target="../embeddings/Microsoft_Excel_Worksheet1525.xlsx"/></Relationships>
</file>

<file path=ppt/charts/_rels/chart1527.xml.rels><?xml version='1.0' encoding='UTF-8' standalone='yes'?>
<Relationships xmlns="http://schemas.openxmlformats.org/package/2006/relationships"><Relationship Id="rId1" Type="http://schemas.openxmlformats.org/officeDocument/2006/relationships/package" Target="../embeddings/Microsoft_Excel_Worksheet1526.xlsx"/></Relationships>
</file>

<file path=ppt/charts/_rels/chart1528.xml.rels><?xml version='1.0' encoding='UTF-8' standalone='yes'?>
<Relationships xmlns="http://schemas.openxmlformats.org/package/2006/relationships"><Relationship Id="rId1" Type="http://schemas.openxmlformats.org/officeDocument/2006/relationships/package" Target="../embeddings/Microsoft_Excel_Worksheet1527.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31.xml.rels><?xml version='1.0' encoding='UTF-8' standalone='yes'?>
<Relationships xmlns="http://schemas.openxmlformats.org/package/2006/relationships"><Relationship Id="rId1" Type="http://schemas.openxmlformats.org/officeDocument/2006/relationships/package" Target="../embeddings/Microsoft_Excel_Worksheet1530.xlsx"/></Relationships>
</file>

<file path=ppt/charts/_rels/chart1532.xml.rels><?xml version='1.0' encoding='UTF-8' standalone='yes'?>
<Relationships xmlns="http://schemas.openxmlformats.org/package/2006/relationships"><Relationship Id="rId1" Type="http://schemas.openxmlformats.org/officeDocument/2006/relationships/package" Target="../embeddings/Microsoft_Excel_Worksheet1531.xlsx"/></Relationships>
</file>

<file path=ppt/charts/_rels/chart1533.xml.rels><?xml version='1.0' encoding='UTF-8' standalone='yes'?>
<Relationships xmlns="http://schemas.openxmlformats.org/package/2006/relationships"><Relationship Id="rId1" Type="http://schemas.openxmlformats.org/officeDocument/2006/relationships/package" Target="../embeddings/Microsoft_Excel_Worksheet1532.xlsx"/></Relationships>
</file>

<file path=ppt/charts/_rels/chart1534.xml.rels><?xml version='1.0' encoding='UTF-8' standalone='yes'?>
<Relationships xmlns="http://schemas.openxmlformats.org/package/2006/relationships"><Relationship Id="rId1" Type="http://schemas.openxmlformats.org/officeDocument/2006/relationships/package" Target="../embeddings/Microsoft_Excel_Worksheet1533.xlsx"/></Relationships>
</file>

<file path=ppt/charts/_rels/chart1539.xml.rels><?xml version='1.0' encoding='UTF-8' standalone='yes'?>
<Relationships xmlns="http://schemas.openxmlformats.org/package/2006/relationships"><Relationship Id="rId1" Type="http://schemas.openxmlformats.org/officeDocument/2006/relationships/package" Target="../embeddings/Microsoft_Excel_Worksheet1538.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40.xml.rels><?xml version='1.0' encoding='UTF-8' standalone='yes'?>
<Relationships xmlns="http://schemas.openxmlformats.org/package/2006/relationships"><Relationship Id="rId1" Type="http://schemas.openxmlformats.org/officeDocument/2006/relationships/package" Target="../embeddings/Microsoft_Excel_Worksheet1539.xlsx"/></Relationships>
</file>

<file path=ppt/charts/_rels/chart1547.xml.rels><?xml version='1.0' encoding='UTF-8' standalone='yes'?>
<Relationships xmlns="http://schemas.openxmlformats.org/package/2006/relationships"><Relationship Id="rId1" Type="http://schemas.openxmlformats.org/officeDocument/2006/relationships/package" Target="../embeddings/Microsoft_Excel_Worksheet1546.xlsx"/></Relationships>
</file>

<file path=ppt/charts/_rels/chart1548.xml.rels><?xml version='1.0' encoding='UTF-8' standalone='yes'?>
<Relationships xmlns="http://schemas.openxmlformats.org/package/2006/relationships"><Relationship Id="rId1" Type="http://schemas.openxmlformats.org/officeDocument/2006/relationships/package" Target="../embeddings/Microsoft_Excel_Worksheet1547.xlsx"/></Relationships>
</file>

<file path=ppt/charts/_rels/chart1549.xml.rels><?xml version='1.0' encoding='UTF-8' standalone='yes'?>
<Relationships xmlns="http://schemas.openxmlformats.org/package/2006/relationships"><Relationship Id="rId1" Type="http://schemas.openxmlformats.org/officeDocument/2006/relationships/package" Target="../embeddings/Microsoft_Excel_Worksheet1548.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50.xml.rels><?xml version='1.0' encoding='UTF-8' standalone='yes'?>
<Relationships xmlns="http://schemas.openxmlformats.org/package/2006/relationships"><Relationship Id="rId1" Type="http://schemas.openxmlformats.org/officeDocument/2006/relationships/package" Target="../embeddings/Microsoft_Excel_Worksheet1549.xlsx"/></Relationships>
</file>

<file path=ppt/charts/_rels/chart1553.xml.rels><?xml version='1.0' encoding='UTF-8' standalone='yes'?>
<Relationships xmlns="http://schemas.openxmlformats.org/package/2006/relationships"><Relationship Id="rId1" Type="http://schemas.openxmlformats.org/officeDocument/2006/relationships/package" Target="../embeddings/Microsoft_Excel_Worksheet1552.xlsx"/></Relationships>
</file>

<file path=ppt/charts/_rels/chart1554.xml.rels><?xml version='1.0' encoding='UTF-8' standalone='yes'?>
<Relationships xmlns="http://schemas.openxmlformats.org/package/2006/relationships"><Relationship Id="rId1" Type="http://schemas.openxmlformats.org/officeDocument/2006/relationships/package" Target="../embeddings/Microsoft_Excel_Worksheet1553.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6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themeOverride" Target="../theme/themeOverride1.xml"/><Relationship Id="rId4" Type="http://schemas.openxmlformats.org/officeDocument/2006/relationships/package" Target="../embeddings/Microsoft_Excel_Worksheet1560.xlsx"/></Relationships>
</file>

<file path=ppt/charts/_rels/chart156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themeOverride" Target="../theme/themeOverride2.xml"/><Relationship Id="rId4" Type="http://schemas.openxmlformats.org/officeDocument/2006/relationships/package" Target="../embeddings/Microsoft_Excel_Worksheet1561.xlsx"/></Relationships>
</file>

<file path=ppt/charts/_rels/chart156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themeOverride" Target="../theme/themeOverride3.xml"/><Relationship Id="rId4" Type="http://schemas.openxmlformats.org/officeDocument/2006/relationships/package" Target="../embeddings/Microsoft_Excel_Worksheet1562.xlsx"/></Relationships>
</file>

<file path=ppt/charts/_rels/chart156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themeOverride" Target="../theme/themeOverride4.xml"/><Relationship Id="rId4" Type="http://schemas.openxmlformats.org/officeDocument/2006/relationships/package" Target="../embeddings/Microsoft_Excel_Worksheet1563.xlsx"/></Relationships>
</file>

<file path=ppt/charts/_rels/chart157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themeOverride" Target="../theme/themeOverride15.xml"/><Relationship Id="rId4" Type="http://schemas.openxmlformats.org/officeDocument/2006/relationships/package" Target="../embeddings/Microsoft_Excel_Worksheet1574.xlsx"/></Relationships>
</file>

<file path=ppt/charts/_rels/chart157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themeOverride" Target="../theme/themeOverride16.xml"/><Relationship Id="rId4" Type="http://schemas.openxmlformats.org/officeDocument/2006/relationships/package" Target="../embeddings/Microsoft_Excel_Worksheet1575.xlsx"/></Relationships>
</file>

<file path=ppt/charts/_rels/chart157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themeOverride" Target="../theme/themeOverride17.xml"/><Relationship Id="rId4" Type="http://schemas.openxmlformats.org/officeDocument/2006/relationships/package" Target="../embeddings/Microsoft_Excel_Worksheet1576.xlsx"/></Relationships>
</file>

<file path=ppt/charts/_rels/chart157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themeOverride" Target="../theme/themeOverride18.xml"/><Relationship Id="rId4" Type="http://schemas.openxmlformats.org/officeDocument/2006/relationships/package" Target="../embeddings/Microsoft_Excel_Worksheet1577.xlsx"/></Relationships>
</file>

<file path=ppt/charts/_rels/chart158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themeOverride" Target="../theme/themeOverride23.xml"/><Relationship Id="rId4" Type="http://schemas.openxmlformats.org/officeDocument/2006/relationships/package" Target="../embeddings/Microsoft_Excel_Worksheet1582.xlsx"/></Relationships>
</file>

<file path=ppt/charts/_rels/chart158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themeOverride" Target="../theme/themeOverride24.xml"/><Relationship Id="rId4" Type="http://schemas.openxmlformats.org/officeDocument/2006/relationships/package" Target="../embeddings/Microsoft_Excel_Worksheet1583.xlsx"/></Relationships>
</file>

<file path=ppt/charts/_rels/chart159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themeOverride" Target="../theme/themeOverride33.xml"/><Relationship Id="rId4" Type="http://schemas.openxmlformats.org/officeDocument/2006/relationships/package" Target="../embeddings/Microsoft_Excel_Worksheet1592.xlsx"/></Relationships>
</file>

<file path=ppt/charts/_rels/chart159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themeOverride" Target="../theme/themeOverride34.xml"/><Relationship Id="rId4" Type="http://schemas.openxmlformats.org/officeDocument/2006/relationships/package" Target="../embeddings/Microsoft_Excel_Worksheet1593.xlsx"/></Relationships>
</file>

<file path=ppt/charts/_rels/chart159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themeOverride" Target="../theme/themeOverride35.xml"/><Relationship Id="rId4" Type="http://schemas.openxmlformats.org/officeDocument/2006/relationships/package" Target="../embeddings/Microsoft_Excel_Worksheet1594.xlsx"/></Relationships>
</file>

<file path=ppt/charts/_rels/chart159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themeOverride" Target="../theme/themeOverride36.xml"/><Relationship Id="rId4" Type="http://schemas.openxmlformats.org/officeDocument/2006/relationships/package" Target="../embeddings/Microsoft_Excel_Worksheet1595.xlsx"/></Relationships>
</file>

<file path=ppt/charts/_rels/chart160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themeOverride" Target="../theme/themeOverride43.xml"/><Relationship Id="rId4" Type="http://schemas.openxmlformats.org/officeDocument/2006/relationships/package" Target="../embeddings/Microsoft_Excel_Worksheet1602.xlsx"/></Relationships>
</file>

<file path=ppt/charts/_rels/chart160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themeOverride" Target="../theme/themeOverride44.xml"/><Relationship Id="rId4" Type="http://schemas.openxmlformats.org/officeDocument/2006/relationships/package" Target="../embeddings/Microsoft_Excel_Worksheet1603.xlsx"/></Relationships>
</file>

<file path=ppt/charts/_rels/chart161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themeOverride" Target="../theme/themeOverride55.xml"/><Relationship Id="rId4" Type="http://schemas.openxmlformats.org/officeDocument/2006/relationships/package" Target="../embeddings/Microsoft_Excel_Worksheet1614.xlsx"/></Relationships>
</file>

<file path=ppt/charts/_rels/chart161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themeOverride" Target="../theme/themeOverride56.xml"/><Relationship Id="rId4" Type="http://schemas.openxmlformats.org/officeDocument/2006/relationships/package" Target="../embeddings/Microsoft_Excel_Worksheet1615.xlsx"/></Relationships>
</file>

<file path=ppt/charts/_rels/chart161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themeOverride" Target="../theme/themeOverride57.xml"/><Relationship Id="rId4" Type="http://schemas.openxmlformats.org/officeDocument/2006/relationships/package" Target="../embeddings/Microsoft_Excel_Worksheet1616.xlsx"/></Relationships>
</file>

<file path=ppt/charts/_rels/chart161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themeOverride" Target="../theme/themeOverride58.xml"/><Relationship Id="rId4" Type="http://schemas.openxmlformats.org/officeDocument/2006/relationships/package" Target="../embeddings/Microsoft_Excel_Worksheet1617.xlsx"/></Relationships>
</file>

<file path=ppt/charts/_rels/chart162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themeOverride" Target="../theme/themeOverride65.xml"/><Relationship Id="rId4" Type="http://schemas.openxmlformats.org/officeDocument/2006/relationships/package" Target="../embeddings/Microsoft_Excel_Worksheet1624.xlsx"/></Relationships>
</file>

<file path=ppt/charts/_rels/chart162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themeOverride" Target="../theme/themeOverride66.xml"/><Relationship Id="rId4" Type="http://schemas.openxmlformats.org/officeDocument/2006/relationships/package" Target="../embeddings/Microsoft_Excel_Worksheet1625.xlsx"/></Relationships>
</file>

<file path=ppt/charts/_rels/chart162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themeOverride" Target="../theme/themeOverride67.xml"/><Relationship Id="rId4" Type="http://schemas.openxmlformats.org/officeDocument/2006/relationships/package" Target="../embeddings/Microsoft_Excel_Worksheet1626.xlsx"/></Relationships>
</file>

<file path=ppt/charts/_rels/chart162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themeOverride" Target="../theme/themeOverride68.xml"/><Relationship Id="rId4" Type="http://schemas.openxmlformats.org/officeDocument/2006/relationships/package" Target="../embeddings/Microsoft_Excel_Worksheet1627.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3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themeOverride" Target="../theme/themeOverride77.xml"/><Relationship Id="rId4" Type="http://schemas.openxmlformats.org/officeDocument/2006/relationships/package" Target="../embeddings/Microsoft_Excel_Worksheet1636.xlsx"/></Relationships>
</file>

<file path=ppt/charts/_rels/chart163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themeOverride" Target="../theme/themeOverride78.xml"/><Relationship Id="rId4" Type="http://schemas.openxmlformats.org/officeDocument/2006/relationships/package" Target="../embeddings/Microsoft_Excel_Worksheet1637.xlsx"/></Relationships>
</file>

<file path=ppt/charts/_rels/chart163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themeOverride" Target="../theme/themeOverride79.xml"/><Relationship Id="rId4" Type="http://schemas.openxmlformats.org/officeDocument/2006/relationships/package" Target="../embeddings/Microsoft_Excel_Worksheet1638.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4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themeOverride" Target="../theme/themeOverride80.xml"/><Relationship Id="rId4" Type="http://schemas.openxmlformats.org/officeDocument/2006/relationships/package" Target="../embeddings/Microsoft_Excel_Worksheet1639.xlsx"/></Relationships>
</file>

<file path=ppt/charts/_rels/chart164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themeOverride" Target="../theme/themeOverride87.xml"/><Relationship Id="rId4" Type="http://schemas.openxmlformats.org/officeDocument/2006/relationships/package" Target="../embeddings/Microsoft_Excel_Worksheet1646.xlsx"/></Relationships>
</file>

<file path=ppt/charts/_rels/chart164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themeOverride" Target="../theme/themeOverride88.xml"/><Relationship Id="rId4" Type="http://schemas.openxmlformats.org/officeDocument/2006/relationships/package" Target="../embeddings/Microsoft_Excel_Worksheet1647.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5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themeOverride" Target="../theme/themeOverride91.xml"/><Relationship Id="rId4" Type="http://schemas.openxmlformats.org/officeDocument/2006/relationships/package" Target="../embeddings/Microsoft_Excel_Worksheet1650.xlsx"/></Relationships>
</file>

<file path=ppt/charts/_rels/chart165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themeOverride" Target="../theme/themeOverride92.xml"/><Relationship Id="rId4" Type="http://schemas.openxmlformats.org/officeDocument/2006/relationships/package" Target="../embeddings/Microsoft_Excel_Worksheet1651.xlsx"/></Relationships>
</file>

<file path=ppt/charts/_rels/chart165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themeOverride" Target="../theme/themeOverride93.xml"/><Relationship Id="rId4" Type="http://schemas.openxmlformats.org/officeDocument/2006/relationships/package" Target="../embeddings/Microsoft_Excel_Worksheet1652.xlsx"/></Relationships>
</file>

<file path=ppt/charts/_rels/chart165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themeOverride" Target="../theme/themeOverride94.xml"/><Relationship Id="rId4" Type="http://schemas.openxmlformats.org/officeDocument/2006/relationships/package" Target="../embeddings/Microsoft_Excel_Worksheet1653.xlsx"/></Relationships>
</file>

<file path=ppt/charts/_rels/chart165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themeOverride" Target="../theme/themeOverride99.xml"/><Relationship Id="rId4" Type="http://schemas.openxmlformats.org/officeDocument/2006/relationships/package" Target="../embeddings/Microsoft_Excel_Worksheet1658.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6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themeOverride" Target="../theme/themeOverride100.xml"/><Relationship Id="rId4" Type="http://schemas.openxmlformats.org/officeDocument/2006/relationships/package" Target="../embeddings/Microsoft_Excel_Worksheet1659.xlsx"/></Relationships>
</file>

<file path=ppt/charts/_rels/chart166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themeOverride" Target="../theme/themeOverride101.xml"/><Relationship Id="rId4" Type="http://schemas.openxmlformats.org/officeDocument/2006/relationships/package" Target="../embeddings/Microsoft_Excel_Worksheet1660.xlsx"/></Relationships>
</file>

<file path=ppt/charts/_rels/chart166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themeOverride" Target="../theme/themeOverride102.xml"/><Relationship Id="rId4" Type="http://schemas.openxmlformats.org/officeDocument/2006/relationships/package" Target="../embeddings/Microsoft_Excel_Worksheet1661.xlsx"/></Relationships>
</file>

<file path=ppt/charts/_rels/chart166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themeOverride" Target="../theme/themeOverride109.xml"/><Relationship Id="rId4" Type="http://schemas.openxmlformats.org/officeDocument/2006/relationships/package" Target="../embeddings/Microsoft_Excel_Worksheet1668.xlsx"/></Relationships>
</file>

<file path=ppt/charts/_rels/chart167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themeOverride" Target="../theme/themeOverride110.xml"/><Relationship Id="rId4" Type="http://schemas.openxmlformats.org/officeDocument/2006/relationships/package" Target="../embeddings/Microsoft_Excel_Worksheet1669.xlsx"/></Relationships>
</file>

<file path=ppt/charts/_rels/chart167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themeOverride" Target="../theme/themeOverride113.xml"/><Relationship Id="rId4" Type="http://schemas.openxmlformats.org/officeDocument/2006/relationships/package" Target="../embeddings/Microsoft_Excel_Worksheet1672.xlsx"/></Relationships>
</file>

<file path=ppt/charts/_rels/chart167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themeOverride" Target="../theme/themeOverride114.xml"/><Relationship Id="rId4" Type="http://schemas.openxmlformats.org/officeDocument/2006/relationships/package" Target="../embeddings/Microsoft_Excel_Worksheet1673.xlsx"/></Relationships>
</file>

<file path=ppt/charts/_rels/chart168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themeOverride" Target="../theme/themeOverride121.xml"/><Relationship Id="rId4" Type="http://schemas.openxmlformats.org/officeDocument/2006/relationships/package" Target="../embeddings/Microsoft_Excel_Worksheet1680.xlsx"/></Relationships>
</file>

<file path=ppt/charts/_rels/chart168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themeOverride" Target="../theme/themeOverride122.xml"/><Relationship Id="rId4" Type="http://schemas.openxmlformats.org/officeDocument/2006/relationships/package" Target="../embeddings/Microsoft_Excel_Worksheet1681.xlsx"/></Relationships>
</file>

<file path=ppt/charts/_rels/chart168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themeOverride" Target="../theme/themeOverride123.xml"/><Relationship Id="rId4" Type="http://schemas.openxmlformats.org/officeDocument/2006/relationships/package" Target="../embeddings/Microsoft_Excel_Worksheet1682.xlsx"/></Relationships>
</file>

<file path=ppt/charts/_rels/chart168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themeOverride" Target="../theme/themeOverride124.xml"/><Relationship Id="rId4" Type="http://schemas.openxmlformats.org/officeDocument/2006/relationships/package" Target="../embeddings/Microsoft_Excel_Worksheet1683.xlsx"/></Relationships>
</file>

<file path=ppt/charts/_rels/chart168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themeOverride" Target="../theme/themeOverride125.xml"/><Relationship Id="rId4" Type="http://schemas.openxmlformats.org/officeDocument/2006/relationships/package" Target="../embeddings/Microsoft_Excel_Worksheet1684.xlsx"/></Relationships>
</file>

<file path=ppt/charts/_rels/chart168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themeOverride" Target="../theme/themeOverride126.xml"/><Relationship Id="rId4" Type="http://schemas.openxmlformats.org/officeDocument/2006/relationships/package" Target="../embeddings/Microsoft_Excel_Worksheet1685.xlsx"/></Relationships>
</file>

<file path=ppt/charts/_rels/chart169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themeOverride" Target="../theme/themeOverride135.xml"/><Relationship Id="rId4" Type="http://schemas.openxmlformats.org/officeDocument/2006/relationships/package" Target="../embeddings/Microsoft_Excel_Worksheet1694.xlsx"/></Relationships>
</file>

<file path=ppt/charts/_rels/chart169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themeOverride" Target="../theme/themeOverride136.xml"/><Relationship Id="rId4" Type="http://schemas.openxmlformats.org/officeDocument/2006/relationships/package" Target="../embeddings/Microsoft_Excel_Worksheet1695.xlsx"/></Relationships>
</file>

<file path=ppt/charts/_rels/chart169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themeOverride" Target="../theme/themeOverride137.xml"/><Relationship Id="rId4" Type="http://schemas.openxmlformats.org/officeDocument/2006/relationships/package" Target="../embeddings/Microsoft_Excel_Worksheet1696.xlsx"/></Relationships>
</file>

<file path=ppt/charts/_rels/chart169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themeOverride" Target="../theme/themeOverride138.xml"/><Relationship Id="rId4" Type="http://schemas.openxmlformats.org/officeDocument/2006/relationships/package" Target="../embeddings/Microsoft_Excel_Worksheet169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themeOverride" Target="../theme/themeOverride145.xml"/><Relationship Id="rId4" Type="http://schemas.openxmlformats.org/officeDocument/2006/relationships/package" Target="../embeddings/Microsoft_Excel_Worksheet1704.xlsx"/></Relationships>
</file>

<file path=ppt/charts/_rels/chart170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themeOverride" Target="../theme/themeOverride146.xml"/><Relationship Id="rId4" Type="http://schemas.openxmlformats.org/officeDocument/2006/relationships/package" Target="../embeddings/Microsoft_Excel_Worksheet1705.xlsx"/></Relationships>
</file>

<file path=ppt/charts/_rels/chart171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themeOverride" Target="../theme/themeOverride151.xml"/><Relationship Id="rId4" Type="http://schemas.openxmlformats.org/officeDocument/2006/relationships/package" Target="../embeddings/Microsoft_Excel_Worksheet1710.xlsx"/></Relationships>
</file>

<file path=ppt/charts/_rels/chart171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themeOverride" Target="../theme/themeOverride152.xml"/><Relationship Id="rId4" Type="http://schemas.openxmlformats.org/officeDocument/2006/relationships/package" Target="../embeddings/Microsoft_Excel_Worksheet1711.xlsx"/></Relationships>
</file>

<file path=ppt/charts/_rels/chart171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716.xlsx"/></Relationships>
</file>

<file path=ppt/charts/_rels/chart171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717.xlsx"/></Relationships>
</file>

<file path=ppt/charts/_rels/chart171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718.xlsx"/></Relationships>
</file>

<file path=ppt/charts/_rels/chart172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719.xlsx"/></Relationships>
</file>

<file path=ppt/charts/_rels/chart172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726.xlsx"/></Relationships>
</file>

<file path=ppt/charts/_rels/chart172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727.xlsx"/></Relationships>
</file>

<file path=ppt/charts/_rels/chart172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728.xlsx"/></Relationships>
</file>

<file path=ppt/charts/_rels/chart173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729.xlsx"/></Relationships>
</file>

<file path=ppt/charts/_rels/chart173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30.xlsx"/></Relationships>
</file>

<file path=ppt/charts/_rels/chart173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31.xlsx"/></Relationships>
</file>

<file path=ppt/charts/_rels/chart173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38.xlsx"/></Relationships>
</file>

<file path=ppt/charts/_rels/chart174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39.xlsx"/></Relationships>
</file>

<file path=ppt/charts/_rels/chart174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740.xlsx"/></Relationships>
</file>

<file path=ppt/charts/_rels/chart174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741.xlsx"/></Relationships>
</file>

<file path=ppt/charts/_rels/chart174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748.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5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749.xlsx"/></Relationships>
</file>

<file path=ppt/charts/_rels/chart175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752.xlsx"/></Relationships>
</file>

<file path=ppt/charts/_rels/chart175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753.xlsx"/></Relationships>
</file>

<file path=ppt/charts/_rels/chart175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754.xlsx"/></Relationships>
</file>

<file path=ppt/charts/_rels/chart175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755.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6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1760.xlsx"/></Relationships>
</file>

<file path=ppt/charts/_rels/chart176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1761.xlsx"/></Relationships>
</file>

<file path=ppt/charts/_rels/chart176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1762.xlsx"/></Relationships>
</file>

<file path=ppt/charts/_rels/chart176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1763.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7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1774.xlsx"/></Relationships>
</file>

<file path=ppt/charts/_rels/chart177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1775.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8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1782.xlsx"/></Relationships>
</file>

<file path=ppt/charts/_rels/chart178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1783.xlsx"/></Relationships>
</file>

<file path=ppt/charts/_rels/chart178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1784.xlsx"/></Relationships>
</file>

<file path=ppt/charts/_rels/chart178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1785.xlsx"/></Relationships>
</file>

<file path=ppt/charts/_rels/chart179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1792.xlsx"/></Relationships>
</file>

<file path=ppt/charts/_rels/chart179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1793.xlsx"/></Relationships>
</file>

<file path=ppt/charts/_rels/chart179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1794.xlsx"/></Relationships>
</file>

<file path=ppt/charts/_rels/chart179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179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1802.xlsx"/></Relationships>
</file>

<file path=ppt/charts/_rels/chart180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1803.xlsx"/></Relationships>
</file>

<file path=ppt/charts/_rels/chart180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1804.xlsx"/></Relationships>
</file>

<file path=ppt/charts/_rels/chart180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1805.xlsx"/></Relationships>
</file>

<file path=ppt/charts/_rels/chart181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1816.xlsx"/></Relationships>
</file>

<file path=ppt/charts/_rels/chart181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1817.xlsx"/></Relationships>
</file>

<file path=ppt/charts/_rels/chart181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1818.xlsx"/></Relationships>
</file>

<file path=ppt/charts/_rels/chart182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1819.xlsx"/></Relationships>
</file>

<file path=ppt/charts/_rels/chart182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1824.xlsx"/></Relationships>
</file>

<file path=ppt/charts/_rels/chart182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1825.xlsx"/></Relationships>
</file>

<file path=ppt/charts/_rels/chart183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1830.xlsx"/></Relationships>
</file>

<file path=ppt/charts/_rels/chart183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1831.xlsx"/></Relationships>
</file>

<file path=ppt/charts/_rels/chart183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1838.xlsx"/></Relationships>
</file>

<file path=ppt/charts/_rels/chart184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1839.xlsx"/></Relationships>
</file>

<file path=ppt/charts/_rels/chart184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1846.xlsx"/></Relationships>
</file>

<file path=ppt/charts/_rels/chart184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1847.xlsx"/></Relationships>
</file>

<file path=ppt/charts/_rels/chart184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1848.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5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1849.xlsx"/></Relationships>
</file>

<file path=ppt/charts/_rels/chart185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1850.xlsx"/></Relationships>
</file>

<file path=ppt/charts/_rels/chart185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1851.xlsx"/></Relationships>
</file>

<file path=ppt/charts/_rels/chart185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1852.xlsx"/></Relationships>
</file>

<file path=ppt/charts/_rels/chart185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1853.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6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1860.xlsx"/></Relationships>
</file>

<file path=ppt/charts/_rels/chart186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1861.xlsx"/></Relationships>
</file>

<file path=ppt/charts/_rels/chart186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1862.xlsx"/></Relationships>
</file>

<file path=ppt/charts/_rels/chart186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1863.xlsx"/></Relationships>
</file>

<file path=ppt/charts/_rels/chart186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1868.xlsx"/></Relationships>
</file>

<file path=ppt/charts/_rels/chart187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1869.xlsx"/></Relationships>
</file>

<file path=ppt/charts/_rels/chart187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1872.xlsx"/></Relationships>
</file>

<file path=ppt/charts/_rels/chart187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1873.xlsx"/></Relationships>
</file>

<file path=ppt/charts/_rels/chart1875.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1874.xlsx"/></Relationships>
</file>

<file path=ppt/charts/_rels/chart187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1875.xlsx"/></Relationships>
</file>

<file path=ppt/charts/_rels/chart188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1882.xlsx"/></Relationships>
</file>

<file path=ppt/charts/_rels/chart188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1883.xlsx"/></Relationships>
</file>

<file path=ppt/charts/_rels/chart189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1894.xlsx"/></Relationships>
</file>

<file path=ppt/charts/_rels/chart189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1895.xlsx"/></Relationships>
</file>

<file path=ppt/charts/_rels/chart189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1896.xlsx"/></Relationships>
</file>

<file path=ppt/charts/_rels/chart189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189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1904.xlsx"/></Relationships>
</file>

<file path=ppt/charts/_rels/chart1906.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1905.xlsx"/></Relationships>
</file>

<file path=ppt/charts/_rels/chart190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1906.xlsx"/></Relationships>
</file>

<file path=ppt/charts/_rels/chart190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1907.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1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1916.xlsx"/></Relationships>
</file>

<file path=ppt/charts/_rels/chart191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1917.xlsx"/></Relationships>
</file>

<file path=ppt/charts/_rels/chart191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1918.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2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1919.xlsx"/></Relationships>
</file>

<file path=ppt/charts/_rels/chart192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1926.xlsx"/></Relationships>
</file>

<file path=ppt/charts/_rels/chart1928.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1927.xlsx"/></Relationships>
</file>

<file path=ppt/charts/_rels/chart193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1930.xlsx"/></Relationships>
</file>

<file path=ppt/charts/_rels/chart193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1931.xlsx"/></Relationships>
</file>

<file path=ppt/charts/_rels/chart1933.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1932.xlsx"/></Relationships>
</file>

<file path=ppt/charts/_rels/chart1934.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1933.xlsx"/></Relationships>
</file>

<file path=ppt/charts/_rels/chart1939.xml.rels><?xml version='1.0' encoding='UTF-8' standalone='yes'?>
<Relationships xmlns="http://schemas.openxmlformats.org/package/2006/relationships"><Relationship Id="rId1" Type="http://schemas.microsoft.com/office/2011/relationships/chartStyle" Target="style379.xml"/><Relationship Id="rId2" Type="http://schemas.microsoft.com/office/2011/relationships/chartColorStyle" Target="colors379.xml"/><Relationship Id="rId3" Type="http://schemas.openxmlformats.org/officeDocument/2006/relationships/package" Target="../embeddings/Microsoft_Excel_Worksheet1938.xlsx"/></Relationships>
</file>

<file path=ppt/charts/_rels/chart1940.xml.rels><?xml version='1.0' encoding='UTF-8' standalone='yes'?>
<Relationships xmlns="http://schemas.openxmlformats.org/package/2006/relationships"><Relationship Id="rId1" Type="http://schemas.microsoft.com/office/2011/relationships/chartStyle" Target="style380.xml"/><Relationship Id="rId2" Type="http://schemas.microsoft.com/office/2011/relationships/chartColorStyle" Target="colors380.xml"/><Relationship Id="rId3" Type="http://schemas.openxmlformats.org/officeDocument/2006/relationships/package" Target="../embeddings/Microsoft_Excel_Worksheet1939.xlsx"/></Relationships>
</file>

<file path=ppt/charts/_rels/chart1941.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1940.xlsx"/></Relationships>
</file>

<file path=ppt/charts/_rels/chart1942.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1941.xlsx"/></Relationships>
</file>

<file path=ppt/charts/_rels/chart1949.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1948.xlsx"/></Relationships>
</file>

<file path=ppt/charts/_rels/chart1950.xml.rels><?xml version='1.0' encoding='UTF-8' standalone='yes'?>
<Relationships xmlns="http://schemas.openxmlformats.org/package/2006/relationships"><Relationship Id="rId1" Type="http://schemas.microsoft.com/office/2011/relationships/chartStyle" Target="style390.xml"/><Relationship Id="rId2" Type="http://schemas.microsoft.com/office/2011/relationships/chartColorStyle" Target="colors390.xml"/><Relationship Id="rId3" Type="http://schemas.openxmlformats.org/officeDocument/2006/relationships/package" Target="../embeddings/Microsoft_Excel_Worksheet1949.xlsx"/></Relationships>
</file>

<file path=ppt/charts/_rels/chart1953.xml.rels><?xml version='1.0' encoding='UTF-8' standalone='yes'?>
<Relationships xmlns="http://schemas.openxmlformats.org/package/2006/relationships"><Relationship Id="rId1" Type="http://schemas.microsoft.com/office/2011/relationships/chartStyle" Target="style393.xml"/><Relationship Id="rId2" Type="http://schemas.microsoft.com/office/2011/relationships/chartColorStyle" Target="colors393.xml"/><Relationship Id="rId3" Type="http://schemas.openxmlformats.org/officeDocument/2006/relationships/package" Target="../embeddings/Microsoft_Excel_Worksheet1952.xlsx"/></Relationships>
</file>

<file path=ppt/charts/_rels/chart1954.xml.rels><?xml version='1.0' encoding='UTF-8' standalone='yes'?>
<Relationships xmlns="http://schemas.openxmlformats.org/package/2006/relationships"><Relationship Id="rId1" Type="http://schemas.microsoft.com/office/2011/relationships/chartStyle" Target="style394.xml"/><Relationship Id="rId2" Type="http://schemas.microsoft.com/office/2011/relationships/chartColorStyle" Target="colors394.xml"/><Relationship Id="rId3" Type="http://schemas.openxmlformats.org/officeDocument/2006/relationships/package" Target="../embeddings/Microsoft_Excel_Worksheet1953.xlsx"/></Relationships>
</file>

<file path=ppt/charts/_rels/chart1961.xml.rels><?xml version='1.0' encoding='UTF-8' standalone='yes'?>
<Relationships xmlns="http://schemas.openxmlformats.org/package/2006/relationships"><Relationship Id="rId1" Type="http://schemas.microsoft.com/office/2011/relationships/chartStyle" Target="style401.xml"/><Relationship Id="rId2" Type="http://schemas.microsoft.com/office/2011/relationships/chartColorStyle" Target="colors401.xml"/><Relationship Id="rId3" Type="http://schemas.openxmlformats.org/officeDocument/2006/relationships/package" Target="../embeddings/Microsoft_Excel_Worksheet1960.xlsx"/></Relationships>
</file>

<file path=ppt/charts/_rels/chart1962.xml.rels><?xml version='1.0' encoding='UTF-8' standalone='yes'?>
<Relationships xmlns="http://schemas.openxmlformats.org/package/2006/relationships"><Relationship Id="rId1" Type="http://schemas.microsoft.com/office/2011/relationships/chartStyle" Target="style402.xml"/><Relationship Id="rId2" Type="http://schemas.microsoft.com/office/2011/relationships/chartColorStyle" Target="colors402.xml"/><Relationship Id="rId3" Type="http://schemas.openxmlformats.org/officeDocument/2006/relationships/package" Target="../embeddings/Microsoft_Excel_Worksheet1961.xlsx"/></Relationships>
</file>

<file path=ppt/charts/_rels/chart1963.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1962.xlsx"/></Relationships>
</file>

<file path=ppt/charts/_rels/chart1964.xml.rels><?xml version='1.0' encoding='UTF-8' standalone='yes'?>
<Relationships xmlns="http://schemas.openxmlformats.org/package/2006/relationships"><Relationship Id="rId1" Type="http://schemas.microsoft.com/office/2011/relationships/chartStyle" Target="style404.xml"/><Relationship Id="rId2" Type="http://schemas.microsoft.com/office/2011/relationships/chartColorStyle" Target="colors404.xml"/><Relationship Id="rId3" Type="http://schemas.openxmlformats.org/officeDocument/2006/relationships/package" Target="../embeddings/Microsoft_Excel_Worksheet1963.xlsx"/></Relationships>
</file>

<file path=ppt/charts/_rels/chart1965.xml.rels><?xml version='1.0' encoding='UTF-8' standalone='yes'?>
<Relationships xmlns="http://schemas.openxmlformats.org/package/2006/relationships"><Relationship Id="rId1" Type="http://schemas.microsoft.com/office/2011/relationships/chartStyle" Target="style405.xml"/><Relationship Id="rId2" Type="http://schemas.microsoft.com/office/2011/relationships/chartColorStyle" Target="colors405.xml"/><Relationship Id="rId3" Type="http://schemas.openxmlformats.org/officeDocument/2006/relationships/package" Target="../embeddings/Microsoft_Excel_Worksheet1964.xlsx"/></Relationships>
</file>

<file path=ppt/charts/_rels/chart1966.xml.rels><?xml version='1.0' encoding='UTF-8' standalone='yes'?>
<Relationships xmlns="http://schemas.openxmlformats.org/package/2006/relationships"><Relationship Id="rId1" Type="http://schemas.microsoft.com/office/2011/relationships/chartStyle" Target="style406.xml"/><Relationship Id="rId2" Type="http://schemas.microsoft.com/office/2011/relationships/chartColorStyle" Target="colors406.xml"/><Relationship Id="rId3" Type="http://schemas.openxmlformats.org/officeDocument/2006/relationships/package" Target="../embeddings/Microsoft_Excel_Worksheet1965.xlsx"/></Relationships>
</file>

<file path=ppt/charts/_rels/chart1975.xml.rels><?xml version='1.0' encoding='UTF-8' standalone='yes'?>
<Relationships xmlns="http://schemas.openxmlformats.org/package/2006/relationships"><Relationship Id="rId1" Type="http://schemas.microsoft.com/office/2011/relationships/chartStyle" Target="style415.xml"/><Relationship Id="rId2" Type="http://schemas.microsoft.com/office/2011/relationships/chartColorStyle" Target="colors415.xml"/><Relationship Id="rId3" Type="http://schemas.openxmlformats.org/officeDocument/2006/relationships/package" Target="../embeddings/Microsoft_Excel_Worksheet1974.xlsx"/></Relationships>
</file>

<file path=ppt/charts/_rels/chart1976.xml.rels><?xml version='1.0' encoding='UTF-8' standalone='yes'?>
<Relationships xmlns="http://schemas.openxmlformats.org/package/2006/relationships"><Relationship Id="rId1" Type="http://schemas.microsoft.com/office/2011/relationships/chartStyle" Target="style416.xml"/><Relationship Id="rId2" Type="http://schemas.microsoft.com/office/2011/relationships/chartColorStyle" Target="colors416.xml"/><Relationship Id="rId3" Type="http://schemas.openxmlformats.org/officeDocument/2006/relationships/package" Target="../embeddings/Microsoft_Excel_Worksheet1975.xlsx"/></Relationships>
</file>

<file path=ppt/charts/_rels/chart1977.xml.rels><?xml version='1.0' encoding='UTF-8' standalone='yes'?>
<Relationships xmlns="http://schemas.openxmlformats.org/package/2006/relationships"><Relationship Id="rId1" Type="http://schemas.microsoft.com/office/2011/relationships/chartStyle" Target="style417.xml"/><Relationship Id="rId2" Type="http://schemas.microsoft.com/office/2011/relationships/chartColorStyle" Target="colors417.xml"/><Relationship Id="rId3" Type="http://schemas.openxmlformats.org/officeDocument/2006/relationships/package" Target="../embeddings/Microsoft_Excel_Worksheet1976.xlsx"/></Relationships>
</file>

<file path=ppt/charts/_rels/chart1978.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1977.xlsx"/></Relationships>
</file>

<file path=ppt/charts/_rels/chart1985.xml.rels><?xml version='1.0' encoding='UTF-8' standalone='yes'?>
<Relationships xmlns="http://schemas.openxmlformats.org/package/2006/relationships"><Relationship Id="rId1" Type="http://schemas.microsoft.com/office/2011/relationships/chartStyle" Target="style425.xml"/><Relationship Id="rId2" Type="http://schemas.microsoft.com/office/2011/relationships/chartColorStyle" Target="colors425.xml"/><Relationship Id="rId3" Type="http://schemas.openxmlformats.org/officeDocument/2006/relationships/package" Target="../embeddings/Microsoft_Excel_Worksheet1984.xlsx"/></Relationships>
</file>

<file path=ppt/charts/_rels/chart1986.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1985.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1995.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1994.xlsx"/></Relationships>
</file>

<file path=ppt/charts/_rels/chart1996.xml.rels><?xml version='1.0' encoding='UTF-8' standalone='yes'?>
<Relationships xmlns="http://schemas.openxmlformats.org/package/2006/relationships"><Relationship Id="rId1" Type="http://schemas.microsoft.com/office/2011/relationships/chartStyle" Target="style436.xml"/><Relationship Id="rId2" Type="http://schemas.microsoft.com/office/2011/relationships/chartColorStyle" Target="colors436.xml"/><Relationship Id="rId3" Type="http://schemas.openxmlformats.org/officeDocument/2006/relationships/package" Target="../embeddings/Microsoft_Excel_Worksheet1995.xlsx"/></Relationships>
</file>

<file path=ppt/charts/_rels/chart1997.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1996.xlsx"/></Relationships>
</file>

<file path=ppt/charts/_rels/chart1998.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1997.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03.xml.rels><?xml version='1.0' encoding='UTF-8' standalone='yes'?>
<Relationships xmlns="http://schemas.openxmlformats.org/package/2006/relationships"><Relationship Id="rId1" Type="http://schemas.microsoft.com/office/2011/relationships/chartStyle" Target="style443.xml"/><Relationship Id="rId2" Type="http://schemas.microsoft.com/office/2011/relationships/chartColorStyle" Target="colors443.xml"/><Relationship Id="rId3" Type="http://schemas.openxmlformats.org/officeDocument/2006/relationships/package" Target="../embeddings/Microsoft_Excel_Worksheet2002.xlsx"/></Relationships>
</file>

<file path=ppt/charts/_rels/chart2004.xml.rels><?xml version='1.0' encoding='UTF-8' standalone='yes'?>
<Relationships xmlns="http://schemas.openxmlformats.org/package/2006/relationships"><Relationship Id="rId1" Type="http://schemas.microsoft.com/office/2011/relationships/chartStyle" Target="style444.xml"/><Relationship Id="rId2" Type="http://schemas.microsoft.com/office/2011/relationships/chartColorStyle" Target="colors444.xml"/><Relationship Id="rId3" Type="http://schemas.openxmlformats.org/officeDocument/2006/relationships/package" Target="../embeddings/Microsoft_Excel_Worksheet2003.xlsx"/></Relationships>
</file>

<file path=ppt/charts/_rels/chart2005.xml.rels><?xml version='1.0' encoding='UTF-8' standalone='yes'?>
<Relationships xmlns="http://schemas.openxmlformats.org/package/2006/relationships"><Relationship Id="rId1" Type="http://schemas.microsoft.com/office/2011/relationships/chartStyle" Target="style445.xml"/><Relationship Id="rId2" Type="http://schemas.microsoft.com/office/2011/relationships/chartColorStyle" Target="colors445.xml"/><Relationship Id="rId3" Type="http://schemas.openxmlformats.org/officeDocument/2006/relationships/package" Target="../embeddings/Microsoft_Excel_Worksheet2004.xlsx"/></Relationships>
</file>

<file path=ppt/charts/_rels/chart2006.xml.rels><?xml version='1.0' encoding='UTF-8' standalone='yes'?>
<Relationships xmlns="http://schemas.openxmlformats.org/package/2006/relationships"><Relationship Id="rId1" Type="http://schemas.microsoft.com/office/2011/relationships/chartStyle" Target="style446.xml"/><Relationship Id="rId2" Type="http://schemas.microsoft.com/office/2011/relationships/chartColorStyle" Target="colors446.xml"/><Relationship Id="rId3" Type="http://schemas.openxmlformats.org/officeDocument/2006/relationships/package" Target="../embeddings/Microsoft_Excel_Worksheet2005.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17.xml.rels><?xml version='1.0' encoding='UTF-8' standalone='yes'?>
<Relationships xmlns="http://schemas.openxmlformats.org/package/2006/relationships"><Relationship Id="rId1" Type="http://schemas.microsoft.com/office/2011/relationships/chartStyle" Target="style457.xml"/><Relationship Id="rId2" Type="http://schemas.microsoft.com/office/2011/relationships/chartColorStyle" Target="colors457.xml"/><Relationship Id="rId3" Type="http://schemas.openxmlformats.org/officeDocument/2006/relationships/package" Target="../embeddings/Microsoft_Excel_Worksheet2016.xlsx"/></Relationships>
</file>

<file path=ppt/charts/_rels/chart2018.xml.rels><?xml version='1.0' encoding='UTF-8' standalone='yes'?>
<Relationships xmlns="http://schemas.openxmlformats.org/package/2006/relationships"><Relationship Id="rId1" Type="http://schemas.microsoft.com/office/2011/relationships/chartStyle" Target="style458.xml"/><Relationship Id="rId2" Type="http://schemas.microsoft.com/office/2011/relationships/chartColorStyle" Target="colors458.xml"/><Relationship Id="rId3" Type="http://schemas.openxmlformats.org/officeDocument/2006/relationships/package" Target="../embeddings/Microsoft_Excel_Worksheet2017.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25.xml.rels><?xml version='1.0' encoding='UTF-8' standalone='yes'?>
<Relationships xmlns="http://schemas.openxmlformats.org/package/2006/relationships"><Relationship Id="rId1" Type="http://schemas.microsoft.com/office/2011/relationships/chartStyle" Target="style465.xml"/><Relationship Id="rId2" Type="http://schemas.microsoft.com/office/2011/relationships/chartColorStyle" Target="colors465.xml"/><Relationship Id="rId3" Type="http://schemas.openxmlformats.org/officeDocument/2006/relationships/package" Target="../embeddings/Microsoft_Excel_Worksheet2024.xlsx"/></Relationships>
</file>

<file path=ppt/charts/_rels/chart2026.xml.rels><?xml version='1.0' encoding='UTF-8' standalone='yes'?>
<Relationships xmlns="http://schemas.openxmlformats.org/package/2006/relationships"><Relationship Id="rId1" Type="http://schemas.microsoft.com/office/2011/relationships/chartStyle" Target="style466.xml"/><Relationship Id="rId2" Type="http://schemas.microsoft.com/office/2011/relationships/chartColorStyle" Target="colors466.xml"/><Relationship Id="rId3" Type="http://schemas.openxmlformats.org/officeDocument/2006/relationships/package" Target="../embeddings/Microsoft_Excel_Worksheet2025.xlsx"/></Relationships>
</file>

<file path=ppt/charts/_rels/chart2027.xml.rels><?xml version='1.0' encoding='UTF-8' standalone='yes'?>
<Relationships xmlns="http://schemas.openxmlformats.org/package/2006/relationships"><Relationship Id="rId1" Type="http://schemas.microsoft.com/office/2011/relationships/chartStyle" Target="style467.xml"/><Relationship Id="rId2" Type="http://schemas.microsoft.com/office/2011/relationships/chartColorStyle" Target="colors467.xml"/><Relationship Id="rId3" Type="http://schemas.openxmlformats.org/officeDocument/2006/relationships/package" Target="../embeddings/Microsoft_Excel_Worksheet2026.xlsx"/></Relationships>
</file>

<file path=ppt/charts/_rels/chart2028.xml.rels><?xml version='1.0' encoding='UTF-8' standalone='yes'?>
<Relationships xmlns="http://schemas.openxmlformats.org/package/2006/relationships"><Relationship Id="rId1" Type="http://schemas.microsoft.com/office/2011/relationships/chartStyle" Target="style468.xml"/><Relationship Id="rId2" Type="http://schemas.microsoft.com/office/2011/relationships/chartColorStyle" Target="colors468.xml"/><Relationship Id="rId3" Type="http://schemas.openxmlformats.org/officeDocument/2006/relationships/package" Target="../embeddings/Microsoft_Excel_Worksheet2027.xlsx"/></Relationships>
</file>

<file path=ppt/charts/_rels/chart2031.xml.rels><?xml version='1.0' encoding='UTF-8' standalone='yes'?>
<Relationships xmlns="http://schemas.openxmlformats.org/package/2006/relationships"><Relationship Id="rId1" Type="http://schemas.microsoft.com/office/2011/relationships/chartStyle" Target="style471.xml"/><Relationship Id="rId2" Type="http://schemas.microsoft.com/office/2011/relationships/chartColorStyle" Target="colors471.xml"/><Relationship Id="rId3" Type="http://schemas.openxmlformats.org/officeDocument/2006/relationships/package" Target="../embeddings/Microsoft_Excel_Worksheet2030.xlsx"/></Relationships>
</file>

<file path=ppt/charts/_rels/chart2032.xml.rels><?xml version='1.0' encoding='UTF-8' standalone='yes'?>
<Relationships xmlns="http://schemas.openxmlformats.org/package/2006/relationships"><Relationship Id="rId1" Type="http://schemas.microsoft.com/office/2011/relationships/chartStyle" Target="style472.xml"/><Relationship Id="rId2" Type="http://schemas.microsoft.com/office/2011/relationships/chartColorStyle" Target="colors472.xml"/><Relationship Id="rId3" Type="http://schemas.openxmlformats.org/officeDocument/2006/relationships/package" Target="../embeddings/Microsoft_Excel_Worksheet2031.xlsx"/></Relationships>
</file>

<file path=ppt/charts/_rels/chart2039.xml.rels><?xml version='1.0' encoding='UTF-8' standalone='yes'?>
<Relationships xmlns="http://schemas.openxmlformats.org/package/2006/relationships"><Relationship Id="rId1" Type="http://schemas.microsoft.com/office/2011/relationships/chartStyle" Target="style479.xml"/><Relationship Id="rId2" Type="http://schemas.microsoft.com/office/2011/relationships/chartColorStyle" Target="colors479.xml"/><Relationship Id="rId3" Type="http://schemas.openxmlformats.org/officeDocument/2006/relationships/package" Target="../embeddings/Microsoft_Excel_Worksheet2038.xlsx"/></Relationships>
</file>

<file path=ppt/charts/_rels/chart2040.xml.rels><?xml version='1.0' encoding='UTF-8' standalone='yes'?>
<Relationships xmlns="http://schemas.openxmlformats.org/package/2006/relationships"><Relationship Id="rId1" Type="http://schemas.microsoft.com/office/2011/relationships/chartStyle" Target="style480.xml"/><Relationship Id="rId2" Type="http://schemas.microsoft.com/office/2011/relationships/chartColorStyle" Target="colors480.xml"/><Relationship Id="rId3" Type="http://schemas.openxmlformats.org/officeDocument/2006/relationships/package" Target="../embeddings/Microsoft_Excel_Worksheet2039.xlsx"/></Relationships>
</file>

<file path=ppt/charts/_rels/chart2041.xml.rels><?xml version='1.0' encoding='UTF-8' standalone='yes'?>
<Relationships xmlns="http://schemas.openxmlformats.org/package/2006/relationships"><Relationship Id="rId1" Type="http://schemas.microsoft.com/office/2011/relationships/chartStyle" Target="style481.xml"/><Relationship Id="rId2" Type="http://schemas.microsoft.com/office/2011/relationships/chartColorStyle" Target="colors481.xml"/><Relationship Id="rId3" Type="http://schemas.openxmlformats.org/officeDocument/2006/relationships/package" Target="../embeddings/Microsoft_Excel_Worksheet2040.xlsx"/></Relationships>
</file>

<file path=ppt/charts/_rels/chart2042.xml.rels><?xml version='1.0' encoding='UTF-8' standalone='yes'?>
<Relationships xmlns="http://schemas.openxmlformats.org/package/2006/relationships"><Relationship Id="rId1" Type="http://schemas.microsoft.com/office/2011/relationships/chartStyle" Target="style482.xml"/><Relationship Id="rId2" Type="http://schemas.microsoft.com/office/2011/relationships/chartColorStyle" Target="colors482.xml"/><Relationship Id="rId3" Type="http://schemas.openxmlformats.org/officeDocument/2006/relationships/package" Target="../embeddings/Microsoft_Excel_Worksheet2041.xlsx"/></Relationships>
</file>

<file path=ppt/charts/_rels/chart2047.xml.rels><?xml version='1.0' encoding='UTF-8' standalone='yes'?>
<Relationships xmlns="http://schemas.openxmlformats.org/package/2006/relationships"><Relationship Id="rId1" Type="http://schemas.microsoft.com/office/2011/relationships/chartStyle" Target="style487.xml"/><Relationship Id="rId2" Type="http://schemas.microsoft.com/office/2011/relationships/chartColorStyle" Target="colors487.xml"/><Relationship Id="rId3" Type="http://schemas.openxmlformats.org/officeDocument/2006/relationships/package" Target="../embeddings/Microsoft_Excel_Worksheet2046.xlsx"/></Relationships>
</file>

<file path=ppt/charts/_rels/chart2048.xml.rels><?xml version='1.0' encoding='UTF-8' standalone='yes'?>
<Relationships xmlns="http://schemas.openxmlformats.org/package/2006/relationships"><Relationship Id="rId1" Type="http://schemas.microsoft.com/office/2011/relationships/chartStyle" Target="style488.xml"/><Relationship Id="rId2" Type="http://schemas.microsoft.com/office/2011/relationships/chartColorStyle" Target="colors488.xml"/><Relationship Id="rId3" Type="http://schemas.openxmlformats.org/officeDocument/2006/relationships/package" Target="../embeddings/Microsoft_Excel_Worksheet2047.xlsx"/></Relationships>
</file>

<file path=ppt/charts/_rels/chart2049.xml.rels><?xml version='1.0' encoding='UTF-8' standalone='yes'?>
<Relationships xmlns="http://schemas.openxmlformats.org/package/2006/relationships"><Relationship Id="rId1" Type="http://schemas.microsoft.com/office/2011/relationships/chartStyle" Target="style489.xml"/><Relationship Id="rId2" Type="http://schemas.microsoft.com/office/2011/relationships/chartColorStyle" Target="colors489.xml"/><Relationship Id="rId3" Type="http://schemas.openxmlformats.org/officeDocument/2006/relationships/package" Target="../embeddings/Microsoft_Excel_Worksheet2048.xlsx"/></Relationships>
</file>

<file path=ppt/charts/_rels/chart2050.xml.rels><?xml version='1.0' encoding='UTF-8' standalone='yes'?>
<Relationships xmlns="http://schemas.openxmlformats.org/package/2006/relationships"><Relationship Id="rId1" Type="http://schemas.microsoft.com/office/2011/relationships/chartStyle" Target="style490.xml"/><Relationship Id="rId2" Type="http://schemas.microsoft.com/office/2011/relationships/chartColorStyle" Target="colors490.xml"/><Relationship Id="rId3" Type="http://schemas.openxmlformats.org/officeDocument/2006/relationships/package" Target="../embeddings/Microsoft_Excel_Worksheet2049.xlsx"/></Relationships>
</file>

<file path=ppt/charts/_rels/chart2051.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2050.xlsx"/></Relationships>
</file>

<file path=ppt/charts/_rels/chart2052.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2051.xlsx"/></Relationships>
</file>

<file path=ppt/charts/_rels/chart2053.xml.rels><?xml version='1.0' encoding='UTF-8' standalone='yes'?>
<Relationships xmlns="http://schemas.openxmlformats.org/package/2006/relationships"><Relationship Id="rId1" Type="http://schemas.microsoft.com/office/2011/relationships/chartStyle" Target="style493.xml"/><Relationship Id="rId2" Type="http://schemas.microsoft.com/office/2011/relationships/chartColorStyle" Target="colors493.xml"/><Relationship Id="rId3" Type="http://schemas.openxmlformats.org/officeDocument/2006/relationships/package" Target="../embeddings/Microsoft_Excel_Worksheet2052.xlsx"/></Relationships>
</file>

<file path=ppt/charts/_rels/chart2054.xml.rels><?xml version='1.0' encoding='UTF-8' standalone='yes'?>
<Relationships xmlns="http://schemas.openxmlformats.org/package/2006/relationships"><Relationship Id="rId1" Type="http://schemas.microsoft.com/office/2011/relationships/chartStyle" Target="style494.xml"/><Relationship Id="rId2" Type="http://schemas.microsoft.com/office/2011/relationships/chartColorStyle" Target="colors494.xml"/><Relationship Id="rId3" Type="http://schemas.openxmlformats.org/officeDocument/2006/relationships/package" Target="../embeddings/Microsoft_Excel_Worksheet2053.xlsx"/></Relationships>
</file>

<file path=ppt/charts/_rels/chart2055.xml.rels><?xml version='1.0' encoding='UTF-8' standalone='yes'?>
<Relationships xmlns="http://schemas.openxmlformats.org/package/2006/relationships"><Relationship Id="rId1" Type="http://schemas.microsoft.com/office/2011/relationships/chartStyle" Target="style495.xml"/><Relationship Id="rId2" Type="http://schemas.microsoft.com/office/2011/relationships/chartColorStyle" Target="colors495.xml"/><Relationship Id="rId3" Type="http://schemas.openxmlformats.org/officeDocument/2006/relationships/package" Target="../embeddings/Microsoft_Excel_Worksheet2054.xlsx"/></Relationships>
</file>

<file path=ppt/charts/_rels/chart2056.xml.rels><?xml version='1.0' encoding='UTF-8' standalone='yes'?>
<Relationships xmlns="http://schemas.openxmlformats.org/package/2006/relationships"><Relationship Id="rId1" Type="http://schemas.microsoft.com/office/2011/relationships/chartStyle" Target="style496.xml"/><Relationship Id="rId2" Type="http://schemas.microsoft.com/office/2011/relationships/chartColorStyle" Target="colors496.xml"/><Relationship Id="rId3" Type="http://schemas.openxmlformats.org/officeDocument/2006/relationships/package" Target="../embeddings/Microsoft_Excel_Worksheet2055.xlsx"/></Relationships>
</file>

<file path=ppt/charts/_rels/chart2061.xml.rels><?xml version='1.0' encoding='UTF-8' standalone='yes'?>
<Relationships xmlns="http://schemas.openxmlformats.org/package/2006/relationships"><Relationship Id="rId1" Type="http://schemas.microsoft.com/office/2011/relationships/chartStyle" Target="style501.xml"/><Relationship Id="rId2" Type="http://schemas.microsoft.com/office/2011/relationships/chartColorStyle" Target="colors501.xml"/><Relationship Id="rId3" Type="http://schemas.openxmlformats.org/officeDocument/2006/relationships/package" Target="../embeddings/Microsoft_Excel_Worksheet2060.xlsx"/></Relationships>
</file>

<file path=ppt/charts/_rels/chart2062.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2061.xlsx"/></Relationships>
</file>

<file path=ppt/charts/_rels/chart2069.xml.rels><?xml version='1.0' encoding='UTF-8' standalone='yes'?>
<Relationships xmlns="http://schemas.openxmlformats.org/package/2006/relationships"><Relationship Id="rId1" Type="http://schemas.microsoft.com/office/2011/relationships/chartStyle" Target="style509.xml"/><Relationship Id="rId2" Type="http://schemas.microsoft.com/office/2011/relationships/chartColorStyle" Target="colors509.xml"/><Relationship Id="rId3" Type="http://schemas.openxmlformats.org/officeDocument/2006/relationships/package" Target="../embeddings/Microsoft_Excel_Worksheet2068.xlsx"/></Relationships>
</file>

<file path=ppt/charts/_rels/chart2070.xml.rels><?xml version='1.0' encoding='UTF-8' standalone='yes'?>
<Relationships xmlns="http://schemas.openxmlformats.org/package/2006/relationships"><Relationship Id="rId1" Type="http://schemas.microsoft.com/office/2011/relationships/chartStyle" Target="style510.xml"/><Relationship Id="rId2" Type="http://schemas.microsoft.com/office/2011/relationships/chartColorStyle" Target="colors510.xml"/><Relationship Id="rId3" Type="http://schemas.openxmlformats.org/officeDocument/2006/relationships/package" Target="../embeddings/Microsoft_Excel_Worksheet2069.xlsx"/></Relationships>
</file>

<file path=ppt/charts/_rels/chart2075.xml.rels><?xml version='1.0' encoding='UTF-8' standalone='yes'?>
<Relationships xmlns="http://schemas.openxmlformats.org/package/2006/relationships"><Relationship Id="rId1" Type="http://schemas.microsoft.com/office/2011/relationships/chartStyle" Target="style515.xml"/><Relationship Id="rId2" Type="http://schemas.microsoft.com/office/2011/relationships/chartColorStyle" Target="colors515.xml"/><Relationship Id="rId3" Type="http://schemas.openxmlformats.org/officeDocument/2006/relationships/package" Target="../embeddings/Microsoft_Excel_Worksheet2074.xlsx"/></Relationships>
</file>

<file path=ppt/charts/_rels/chart2076.xml.rels><?xml version='1.0' encoding='UTF-8' standalone='yes'?>
<Relationships xmlns="http://schemas.openxmlformats.org/package/2006/relationships"><Relationship Id="rId1" Type="http://schemas.microsoft.com/office/2011/relationships/chartStyle" Target="style516.xml"/><Relationship Id="rId2" Type="http://schemas.microsoft.com/office/2011/relationships/chartColorStyle" Target="colors516.xml"/><Relationship Id="rId3" Type="http://schemas.openxmlformats.org/officeDocument/2006/relationships/package" Target="../embeddings/Microsoft_Excel_Worksheet2075.xlsx"/></Relationships>
</file>

<file path=ppt/charts/_rels/chart2083.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2082.xlsx"/></Relationships>
</file>

<file path=ppt/charts/_rels/chart2084.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2083.xlsx"/></Relationships>
</file>

<file path=ppt/charts/_rels/chart2085.xml.rels><?xml version='1.0' encoding='UTF-8' standalone='yes'?>
<Relationships xmlns="http://schemas.openxmlformats.org/package/2006/relationships"><Relationship Id="rId1" Type="http://schemas.microsoft.com/office/2011/relationships/chartStyle" Target="style525.xml"/><Relationship Id="rId2" Type="http://schemas.microsoft.com/office/2011/relationships/chartColorStyle" Target="colors525.xml"/><Relationship Id="rId3" Type="http://schemas.openxmlformats.org/officeDocument/2006/relationships/package" Target="../embeddings/Microsoft_Excel_Worksheet2084.xlsx"/></Relationships>
</file>

<file path=ppt/charts/_rels/chart2086.xml.rels><?xml version='1.0' encoding='UTF-8' standalone='yes'?>
<Relationships xmlns="http://schemas.openxmlformats.org/package/2006/relationships"><Relationship Id="rId1" Type="http://schemas.microsoft.com/office/2011/relationships/chartStyle" Target="style526.xml"/><Relationship Id="rId2" Type="http://schemas.microsoft.com/office/2011/relationships/chartColorStyle" Target="colors526.xml"/><Relationship Id="rId3" Type="http://schemas.openxmlformats.org/officeDocument/2006/relationships/package" Target="../embeddings/Microsoft_Excel_Worksheet2085.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097.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2096.xlsx"/></Relationships>
</file>

<file path=ppt/charts/_rels/chart2098.xml.rels><?xml version='1.0' encoding='UTF-8' standalone='yes'?>
<Relationships xmlns="http://schemas.openxmlformats.org/package/2006/relationships"><Relationship Id="rId1" Type="http://schemas.microsoft.com/office/2011/relationships/chartStyle" Target="style538.xml"/><Relationship Id="rId2" Type="http://schemas.microsoft.com/office/2011/relationships/chartColorStyle" Target="colors538.xml"/><Relationship Id="rId3" Type="http://schemas.openxmlformats.org/officeDocument/2006/relationships/package" Target="../embeddings/Microsoft_Excel_Worksheet2097.xlsx"/></Relationships>
</file>

<file path=ppt/charts/_rels/chart2099.xml.rels><?xml version='1.0' encoding='UTF-8' standalone='yes'?>
<Relationships xmlns="http://schemas.openxmlformats.org/package/2006/relationships"><Relationship Id="rId1" Type="http://schemas.microsoft.com/office/2011/relationships/chartStyle" Target="style539.xml"/><Relationship Id="rId2" Type="http://schemas.microsoft.com/office/2011/relationships/chartColorStyle" Target="colors539.xml"/><Relationship Id="rId3" Type="http://schemas.openxmlformats.org/officeDocument/2006/relationships/package" Target="../embeddings/Microsoft_Excel_Worksheet2098.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00.xml.rels><?xml version='1.0' encoding='UTF-8' standalone='yes'?>
<Relationships xmlns="http://schemas.openxmlformats.org/package/2006/relationships"><Relationship Id="rId1" Type="http://schemas.microsoft.com/office/2011/relationships/chartStyle" Target="style540.xml"/><Relationship Id="rId2" Type="http://schemas.microsoft.com/office/2011/relationships/chartColorStyle" Target="colors540.xml"/><Relationship Id="rId3" Type="http://schemas.openxmlformats.org/officeDocument/2006/relationships/package" Target="../embeddings/Microsoft_Excel_Worksheet2099.xlsx"/></Relationships>
</file>

<file path=ppt/charts/_rels/chart2105.xml.rels><?xml version='1.0' encoding='UTF-8' standalone='yes'?>
<Relationships xmlns="http://schemas.openxmlformats.org/package/2006/relationships"><Relationship Id="rId1" Type="http://schemas.microsoft.com/office/2011/relationships/chartStyle" Target="style545.xml"/><Relationship Id="rId2" Type="http://schemas.microsoft.com/office/2011/relationships/chartColorStyle" Target="colors545.xml"/><Relationship Id="rId3" Type="http://schemas.openxmlformats.org/officeDocument/2006/relationships/package" Target="../embeddings/Microsoft_Excel_Worksheet2104.xlsx"/></Relationships>
</file>

<file path=ppt/charts/_rels/chart2106.xml.rels><?xml version='1.0' encoding='UTF-8' standalone='yes'?>
<Relationships xmlns="http://schemas.openxmlformats.org/package/2006/relationships"><Relationship Id="rId1" Type="http://schemas.microsoft.com/office/2011/relationships/chartStyle" Target="style546.xml"/><Relationship Id="rId2" Type="http://schemas.microsoft.com/office/2011/relationships/chartColorStyle" Target="colors546.xml"/><Relationship Id="rId3" Type="http://schemas.openxmlformats.org/officeDocument/2006/relationships/package" Target="../embeddings/Microsoft_Excel_Worksheet2105.xlsx"/></Relationships>
</file>

<file path=ppt/charts/_rels/chart2111.xml.rels><?xml version='1.0' encoding='UTF-8' standalone='yes'?>
<Relationships xmlns="http://schemas.openxmlformats.org/package/2006/relationships"><Relationship Id="rId1" Type="http://schemas.microsoft.com/office/2011/relationships/chartStyle" Target="style551.xml"/><Relationship Id="rId2" Type="http://schemas.microsoft.com/office/2011/relationships/chartColorStyle" Target="colors551.xml"/><Relationship Id="rId3" Type="http://schemas.openxmlformats.org/officeDocument/2006/relationships/package" Target="../embeddings/Microsoft_Excel_Worksheet2110.xlsx"/></Relationships>
</file>

<file path=ppt/charts/_rels/chart2112.xml.rels><?xml version='1.0' encoding='UTF-8' standalone='yes'?>
<Relationships xmlns="http://schemas.openxmlformats.org/package/2006/relationships"><Relationship Id="rId1" Type="http://schemas.microsoft.com/office/2011/relationships/chartStyle" Target="style552.xml"/><Relationship Id="rId2" Type="http://schemas.microsoft.com/office/2011/relationships/chartColorStyle" Target="colors552.xml"/><Relationship Id="rId3" Type="http://schemas.openxmlformats.org/officeDocument/2006/relationships/package" Target="../embeddings/Microsoft_Excel_Worksheet2111.xlsx"/></Relationships>
</file>

<file path=ppt/charts/_rels/chart2119.xml.rels><?xml version='1.0' encoding='UTF-8' standalone='yes'?>
<Relationships xmlns="http://schemas.openxmlformats.org/package/2006/relationships"><Relationship Id="rId1" Type="http://schemas.microsoft.com/office/2011/relationships/chartStyle" Target="style559.xml"/><Relationship Id="rId2" Type="http://schemas.microsoft.com/office/2011/relationships/chartColorStyle" Target="colors559.xml"/><Relationship Id="rId3" Type="http://schemas.openxmlformats.org/officeDocument/2006/relationships/package" Target="../embeddings/Microsoft_Excel_Worksheet2118.xlsx"/></Relationships>
</file>

<file path=ppt/charts/_rels/chart2120.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2119.xlsx"/></Relationships>
</file>

<file path=ppt/charts/_rels/chart2127.xml.rels><?xml version='1.0' encoding='UTF-8' standalone='yes'?>
<Relationships xmlns="http://schemas.openxmlformats.org/package/2006/relationships"><Relationship Id="rId1" Type="http://schemas.microsoft.com/office/2011/relationships/chartStyle" Target="style567.xml"/><Relationship Id="rId2" Type="http://schemas.microsoft.com/office/2011/relationships/chartColorStyle" Target="colors567.xml"/><Relationship Id="rId3" Type="http://schemas.openxmlformats.org/officeDocument/2006/relationships/package" Target="../embeddings/Microsoft_Excel_Worksheet2126.xlsx"/></Relationships>
</file>

<file path=ppt/charts/_rels/chart2128.xml.rels><?xml version='1.0' encoding='UTF-8' standalone='yes'?>
<Relationships xmlns="http://schemas.openxmlformats.org/package/2006/relationships"><Relationship Id="rId1" Type="http://schemas.microsoft.com/office/2011/relationships/chartStyle" Target="style568.xml"/><Relationship Id="rId2" Type="http://schemas.microsoft.com/office/2011/relationships/chartColorStyle" Target="colors568.xml"/><Relationship Id="rId3" Type="http://schemas.openxmlformats.org/officeDocument/2006/relationships/package" Target="../embeddings/Microsoft_Excel_Worksheet2127.xlsx"/></Relationships>
</file>

<file path=ppt/charts/_rels/chart2129.xml.rels><?xml version='1.0' encoding='UTF-8' standalone='yes'?>
<Relationships xmlns="http://schemas.openxmlformats.org/package/2006/relationships"><Relationship Id="rId1" Type="http://schemas.microsoft.com/office/2011/relationships/chartStyle" Target="style569.xml"/><Relationship Id="rId2" Type="http://schemas.microsoft.com/office/2011/relationships/chartColorStyle" Target="colors569.xml"/><Relationship Id="rId3" Type="http://schemas.openxmlformats.org/officeDocument/2006/relationships/package" Target="../embeddings/Microsoft_Excel_Worksheet2128.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30.xml.rels><?xml version='1.0' encoding='UTF-8' standalone='yes'?>
<Relationships xmlns="http://schemas.openxmlformats.org/package/2006/relationships"><Relationship Id="rId1" Type="http://schemas.microsoft.com/office/2011/relationships/chartStyle" Target="style570.xml"/><Relationship Id="rId2" Type="http://schemas.microsoft.com/office/2011/relationships/chartColorStyle" Target="colors570.xml"/><Relationship Id="rId3" Type="http://schemas.openxmlformats.org/officeDocument/2006/relationships/package" Target="../embeddings/Microsoft_Excel_Worksheet2129.xlsx"/></Relationships>
</file>

<file path=ppt/charts/_rels/chart2131.xml.rels><?xml version='1.0' encoding='UTF-8' standalone='yes'?>
<Relationships xmlns="http://schemas.openxmlformats.org/package/2006/relationships"><Relationship Id="rId1" Type="http://schemas.microsoft.com/office/2011/relationships/chartStyle" Target="style571.xml"/><Relationship Id="rId2" Type="http://schemas.microsoft.com/office/2011/relationships/chartColorStyle" Target="colors571.xml"/><Relationship Id="rId3" Type="http://schemas.openxmlformats.org/officeDocument/2006/relationships/package" Target="../embeddings/Microsoft_Excel_Worksheet2130.xlsx"/></Relationships>
</file>

<file path=ppt/charts/_rels/chart2132.xml.rels><?xml version='1.0' encoding='UTF-8' standalone='yes'?>
<Relationships xmlns="http://schemas.openxmlformats.org/package/2006/relationships"><Relationship Id="rId1" Type="http://schemas.microsoft.com/office/2011/relationships/chartStyle" Target="style572.xml"/><Relationship Id="rId2" Type="http://schemas.microsoft.com/office/2011/relationships/chartColorStyle" Target="colors572.xml"/><Relationship Id="rId3" Type="http://schemas.openxmlformats.org/officeDocument/2006/relationships/package" Target="../embeddings/Microsoft_Excel_Worksheet2131.xlsx"/></Relationships>
</file>

<file path=ppt/charts/_rels/chart2133.xml.rels><?xml version='1.0' encoding='UTF-8' standalone='yes'?>
<Relationships xmlns="http://schemas.openxmlformats.org/package/2006/relationships"><Relationship Id="rId1" Type="http://schemas.microsoft.com/office/2011/relationships/chartStyle" Target="style573.xml"/><Relationship Id="rId2" Type="http://schemas.microsoft.com/office/2011/relationships/chartColorStyle" Target="colors573.xml"/><Relationship Id="rId3" Type="http://schemas.openxmlformats.org/officeDocument/2006/relationships/package" Target="../embeddings/Microsoft_Excel_Worksheet2132.xlsx"/></Relationships>
</file>

<file path=ppt/charts/_rels/chart2134.xml.rels><?xml version='1.0' encoding='UTF-8' standalone='yes'?>
<Relationships xmlns="http://schemas.openxmlformats.org/package/2006/relationships"><Relationship Id="rId1" Type="http://schemas.microsoft.com/office/2011/relationships/chartStyle" Target="style574.xml"/><Relationship Id="rId2" Type="http://schemas.microsoft.com/office/2011/relationships/chartColorStyle" Target="colors574.xml"/><Relationship Id="rId3" Type="http://schemas.openxmlformats.org/officeDocument/2006/relationships/package" Target="../embeddings/Microsoft_Excel_Worksheet2133.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41.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2140.xlsx"/></Relationships>
</file>

<file path=ppt/charts/_rels/chart2142.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2141.xlsx"/></Relationships>
</file>

<file path=ppt/charts/_rels/chart2143.xml.rels><?xml version='1.0' encoding='UTF-8' standalone='yes'?>
<Relationships xmlns="http://schemas.openxmlformats.org/package/2006/relationships"><Relationship Id="rId1" Type="http://schemas.microsoft.com/office/2011/relationships/chartStyle" Target="style583.xml"/><Relationship Id="rId2" Type="http://schemas.microsoft.com/office/2011/relationships/chartColorStyle" Target="colors583.xml"/><Relationship Id="rId3" Type="http://schemas.openxmlformats.org/officeDocument/2006/relationships/package" Target="../embeddings/Microsoft_Excel_Worksheet2142.xlsx"/></Relationships>
</file>

<file path=ppt/charts/_rels/chart2144.xml.rels><?xml version='1.0' encoding='UTF-8' standalone='yes'?>
<Relationships xmlns="http://schemas.openxmlformats.org/package/2006/relationships"><Relationship Id="rId1" Type="http://schemas.microsoft.com/office/2011/relationships/chartStyle" Target="style584.xml"/><Relationship Id="rId2" Type="http://schemas.microsoft.com/office/2011/relationships/chartColorStyle" Target="colors584.xml"/><Relationship Id="rId3" Type="http://schemas.openxmlformats.org/officeDocument/2006/relationships/package" Target="../embeddings/Microsoft_Excel_Worksheet2143.xlsx"/></Relationships>
</file>

<file path=ppt/charts/_rels/chart2149.xml.rels><?xml version='1.0' encoding='UTF-8' standalone='yes'?>
<Relationships xmlns="http://schemas.openxmlformats.org/package/2006/relationships"><Relationship Id="rId1" Type="http://schemas.microsoft.com/office/2011/relationships/chartStyle" Target="style589.xml"/><Relationship Id="rId2" Type="http://schemas.microsoft.com/office/2011/relationships/chartColorStyle" Target="colors589.xml"/><Relationship Id="rId3" Type="http://schemas.openxmlformats.org/officeDocument/2006/relationships/package" Target="../embeddings/Microsoft_Excel_Worksheet2148.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50.xml.rels><?xml version='1.0' encoding='UTF-8' standalone='yes'?>
<Relationships xmlns="http://schemas.openxmlformats.org/package/2006/relationships"><Relationship Id="rId1" Type="http://schemas.microsoft.com/office/2011/relationships/chartStyle" Target="style590.xml"/><Relationship Id="rId2" Type="http://schemas.microsoft.com/office/2011/relationships/chartColorStyle" Target="colors590.xml"/><Relationship Id="rId3" Type="http://schemas.openxmlformats.org/officeDocument/2006/relationships/package" Target="../embeddings/Microsoft_Excel_Worksheet2149.xlsx"/></Relationships>
</file>

<file path=ppt/charts/_rels/chart2153.xml.rels><?xml version='1.0' encoding='UTF-8' standalone='yes'?>
<Relationships xmlns="http://schemas.openxmlformats.org/package/2006/relationships"><Relationship Id="rId1" Type="http://schemas.microsoft.com/office/2011/relationships/chartStyle" Target="style593.xml"/><Relationship Id="rId2" Type="http://schemas.microsoft.com/office/2011/relationships/chartColorStyle" Target="colors593.xml"/><Relationship Id="rId3" Type="http://schemas.openxmlformats.org/officeDocument/2006/relationships/package" Target="../embeddings/Microsoft_Excel_Worksheet2152.xlsx"/></Relationships>
</file>

<file path=ppt/charts/_rels/chart2154.xml.rels><?xml version='1.0' encoding='UTF-8' standalone='yes'?>
<Relationships xmlns="http://schemas.openxmlformats.org/package/2006/relationships"><Relationship Id="rId1" Type="http://schemas.microsoft.com/office/2011/relationships/chartStyle" Target="style594.xml"/><Relationship Id="rId2" Type="http://schemas.microsoft.com/office/2011/relationships/chartColorStyle" Target="colors594.xml"/><Relationship Id="rId3" Type="http://schemas.openxmlformats.org/officeDocument/2006/relationships/package" Target="../embeddings/Microsoft_Excel_Worksheet2153.xlsx"/></Relationships>
</file>

<file path=ppt/charts/_rels/chart2155.xml.rels><?xml version='1.0' encoding='UTF-8' standalone='yes'?>
<Relationships xmlns="http://schemas.openxmlformats.org/package/2006/relationships"><Relationship Id="rId1" Type="http://schemas.microsoft.com/office/2011/relationships/chartStyle" Target="style595.xml"/><Relationship Id="rId2" Type="http://schemas.microsoft.com/office/2011/relationships/chartColorStyle" Target="colors595.xml"/><Relationship Id="rId3" Type="http://schemas.openxmlformats.org/officeDocument/2006/relationships/package" Target="../embeddings/Microsoft_Excel_Worksheet2154.xlsx"/></Relationships>
</file>

<file path=ppt/charts/_rels/chart2156.xml.rels><?xml version='1.0' encoding='UTF-8' standalone='yes'?>
<Relationships xmlns="http://schemas.openxmlformats.org/package/2006/relationships"><Relationship Id="rId1" Type="http://schemas.microsoft.com/office/2011/relationships/chartStyle" Target="style596.xml"/><Relationship Id="rId2" Type="http://schemas.microsoft.com/office/2011/relationships/chartColorStyle" Target="colors596.xml"/><Relationship Id="rId3" Type="http://schemas.openxmlformats.org/officeDocument/2006/relationships/package" Target="../embeddings/Microsoft_Excel_Worksheet2155.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63.xml.rels><?xml version='1.0' encoding='UTF-8' standalone='yes'?>
<Relationships xmlns="http://schemas.openxmlformats.org/package/2006/relationships"><Relationship Id="rId1" Type="http://schemas.microsoft.com/office/2011/relationships/chartStyle" Target="style603.xml"/><Relationship Id="rId2" Type="http://schemas.microsoft.com/office/2011/relationships/chartColorStyle" Target="colors603.xml"/><Relationship Id="rId3" Type="http://schemas.openxmlformats.org/officeDocument/2006/relationships/package" Target="../embeddings/Microsoft_Excel_Worksheet2162.xlsx"/></Relationships>
</file>

<file path=ppt/charts/_rels/chart2164.xml.rels><?xml version='1.0' encoding='UTF-8' standalone='yes'?>
<Relationships xmlns="http://schemas.openxmlformats.org/package/2006/relationships"><Relationship Id="rId1" Type="http://schemas.microsoft.com/office/2011/relationships/chartStyle" Target="style604.xml"/><Relationship Id="rId2" Type="http://schemas.microsoft.com/office/2011/relationships/chartColorStyle" Target="colors604.xml"/><Relationship Id="rId3" Type="http://schemas.openxmlformats.org/officeDocument/2006/relationships/package" Target="../embeddings/Microsoft_Excel_Worksheet2163.xlsx"/></Relationships>
</file>

<file path=ppt/charts/_rels/chart2175.xml.rels><?xml version='1.0' encoding='UTF-8' standalone='yes'?>
<Relationships xmlns="http://schemas.openxmlformats.org/package/2006/relationships"><Relationship Id="rId1" Type="http://schemas.microsoft.com/office/2011/relationships/chartStyle" Target="style615.xml"/><Relationship Id="rId2" Type="http://schemas.microsoft.com/office/2011/relationships/chartColorStyle" Target="colors615.xml"/><Relationship Id="rId3" Type="http://schemas.openxmlformats.org/officeDocument/2006/relationships/package" Target="../embeddings/Microsoft_Excel_Worksheet2174.xlsx"/></Relationships>
</file>

<file path=ppt/charts/_rels/chart2176.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2175.xlsx"/></Relationships>
</file>

<file path=ppt/charts/_rels/chart2177.xml.rels><?xml version='1.0' encoding='UTF-8' standalone='yes'?>
<Relationships xmlns="http://schemas.openxmlformats.org/package/2006/relationships"><Relationship Id="rId1" Type="http://schemas.microsoft.com/office/2011/relationships/chartStyle" Target="style617.xml"/><Relationship Id="rId2" Type="http://schemas.microsoft.com/office/2011/relationships/chartColorStyle" Target="colors617.xml"/><Relationship Id="rId3" Type="http://schemas.openxmlformats.org/officeDocument/2006/relationships/package" Target="../embeddings/Microsoft_Excel_Worksheet2176.xlsx"/></Relationships>
</file>

<file path=ppt/charts/_rels/chart2178.xml.rels><?xml version='1.0' encoding='UTF-8' standalone='yes'?>
<Relationships xmlns="http://schemas.openxmlformats.org/package/2006/relationships"><Relationship Id="rId1" Type="http://schemas.microsoft.com/office/2011/relationships/chartStyle" Target="style618.xml"/><Relationship Id="rId2" Type="http://schemas.microsoft.com/office/2011/relationships/chartColorStyle" Target="colors618.xml"/><Relationship Id="rId3" Type="http://schemas.openxmlformats.org/officeDocument/2006/relationships/package" Target="../embeddings/Microsoft_Excel_Worksheet2177.xlsx"/></Relationships>
</file>

<file path=ppt/charts/_rels/chart2185.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2184.xlsx"/></Relationships>
</file>

<file path=ppt/charts/_rels/chart2186.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2185.xlsx"/></Relationships>
</file>

<file path=ppt/charts/_rels/chart2187.xml.rels><?xml version='1.0' encoding='UTF-8' standalone='yes'?>
<Relationships xmlns="http://schemas.openxmlformats.org/package/2006/relationships"><Relationship Id="rId1" Type="http://schemas.microsoft.com/office/2011/relationships/chartStyle" Target="style627.xml"/><Relationship Id="rId2" Type="http://schemas.microsoft.com/office/2011/relationships/chartColorStyle" Target="colors627.xml"/><Relationship Id="rId3" Type="http://schemas.openxmlformats.org/officeDocument/2006/relationships/package" Target="../embeddings/Microsoft_Excel_Worksheet2186.xlsx"/></Relationships>
</file>

<file path=ppt/charts/_rels/chart2188.xml.rels><?xml version='1.0' encoding='UTF-8' standalone='yes'?>
<Relationships xmlns="http://schemas.openxmlformats.org/package/2006/relationships"><Relationship Id="rId1" Type="http://schemas.microsoft.com/office/2011/relationships/chartStyle" Target="style628.xml"/><Relationship Id="rId2" Type="http://schemas.microsoft.com/office/2011/relationships/chartColorStyle" Target="colors628.xml"/><Relationship Id="rId3" Type="http://schemas.openxmlformats.org/officeDocument/2006/relationships/package" Target="../embeddings/Microsoft_Excel_Worksheet2187.xlsx"/></Relationships>
</file>

<file path=ppt/charts/_rels/chart2195.xml.rels><?xml version='1.0' encoding='UTF-8' standalone='yes'?>
<Relationships xmlns="http://schemas.openxmlformats.org/package/2006/relationships"><Relationship Id="rId1" Type="http://schemas.microsoft.com/office/2011/relationships/chartStyle" Target="style635.xml"/><Relationship Id="rId2" Type="http://schemas.microsoft.com/office/2011/relationships/chartColorStyle" Target="colors635.xml"/><Relationship Id="rId3" Type="http://schemas.openxmlformats.org/officeDocument/2006/relationships/package" Target="../embeddings/Microsoft_Excel_Worksheet2194.xlsx"/></Relationships>
</file>

<file path=ppt/charts/_rels/chart2196.xml.rels><?xml version='1.0' encoding='UTF-8' standalone='yes'?>
<Relationships xmlns="http://schemas.openxmlformats.org/package/2006/relationships"><Relationship Id="rId1" Type="http://schemas.microsoft.com/office/2011/relationships/chartStyle" Target="style636.xml"/><Relationship Id="rId2" Type="http://schemas.microsoft.com/office/2011/relationships/chartColorStyle" Target="colors636.xml"/><Relationship Id="rId3" Type="http://schemas.openxmlformats.org/officeDocument/2006/relationships/package" Target="../embeddings/Microsoft_Excel_Worksheet2195.xlsx"/></Relationships>
</file>

<file path=ppt/charts/_rels/chart2203.xml.rels><?xml version='1.0' encoding='UTF-8' standalone='yes'?>
<Relationships xmlns="http://schemas.openxmlformats.org/package/2006/relationships"><Relationship Id="rId1" Type="http://schemas.microsoft.com/office/2011/relationships/chartStyle" Target="style643.xml"/><Relationship Id="rId2" Type="http://schemas.microsoft.com/office/2011/relationships/chartColorStyle" Target="colors643.xml"/><Relationship Id="rId3" Type="http://schemas.openxmlformats.org/officeDocument/2006/relationships/package" Target="../embeddings/Microsoft_Excel_Worksheet2202.xlsx"/></Relationships>
</file>

<file path=ppt/charts/_rels/chart2204.xml.rels><?xml version='1.0' encoding='UTF-8' standalone='yes'?>
<Relationships xmlns="http://schemas.openxmlformats.org/package/2006/relationships"><Relationship Id="rId1" Type="http://schemas.microsoft.com/office/2011/relationships/chartStyle" Target="style644.xml"/><Relationship Id="rId2" Type="http://schemas.microsoft.com/office/2011/relationships/chartColorStyle" Target="colors644.xml"/><Relationship Id="rId3" Type="http://schemas.openxmlformats.org/officeDocument/2006/relationships/package" Target="../embeddings/Microsoft_Excel_Worksheet2203.xlsx"/></Relationships>
</file>

<file path=ppt/charts/_rels/chart2205.xml.rels><?xml version='1.0' encoding='UTF-8' standalone='yes'?>
<Relationships xmlns="http://schemas.openxmlformats.org/package/2006/relationships"><Relationship Id="rId1" Type="http://schemas.microsoft.com/office/2011/relationships/chartStyle" Target="style645.xml"/><Relationship Id="rId2" Type="http://schemas.microsoft.com/office/2011/relationships/chartColorStyle" Target="colors645.xml"/><Relationship Id="rId3" Type="http://schemas.openxmlformats.org/officeDocument/2006/relationships/package" Target="../embeddings/Microsoft_Excel_Worksheet2204.xlsx"/></Relationships>
</file>

<file path=ppt/charts/_rels/chart2206.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2205.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17.xml.rels><?xml version='1.0' encoding='UTF-8' standalone='yes'?>
<Relationships xmlns="http://schemas.openxmlformats.org/package/2006/relationships"><Relationship Id="rId1" Type="http://schemas.microsoft.com/office/2011/relationships/chartStyle" Target="style657.xml"/><Relationship Id="rId2" Type="http://schemas.microsoft.com/office/2011/relationships/chartColorStyle" Target="colors657.xml"/><Relationship Id="rId3" Type="http://schemas.openxmlformats.org/officeDocument/2006/relationships/package" Target="../embeddings/Microsoft_Excel_Worksheet2216.xlsx"/></Relationships>
</file>

<file path=ppt/charts/_rels/chart2218.xml.rels><?xml version='1.0' encoding='UTF-8' standalone='yes'?>
<Relationships xmlns="http://schemas.openxmlformats.org/package/2006/relationships"><Relationship Id="rId1" Type="http://schemas.microsoft.com/office/2011/relationships/chartStyle" Target="style658.xml"/><Relationship Id="rId2" Type="http://schemas.microsoft.com/office/2011/relationships/chartColorStyle" Target="colors658.xml"/><Relationship Id="rId3" Type="http://schemas.openxmlformats.org/officeDocument/2006/relationships/package" Target="../embeddings/Microsoft_Excel_Worksheet2217.xlsx"/></Relationships>
</file>

<file path=ppt/charts/_rels/chart2219.xml.rels><?xml version='1.0' encoding='UTF-8' standalone='yes'?>
<Relationships xmlns="http://schemas.openxmlformats.org/package/2006/relationships"><Relationship Id="rId1" Type="http://schemas.microsoft.com/office/2011/relationships/chartStyle" Target="style659.xml"/><Relationship Id="rId2" Type="http://schemas.microsoft.com/office/2011/relationships/chartColorStyle" Target="colors659.xml"/><Relationship Id="rId3" Type="http://schemas.openxmlformats.org/officeDocument/2006/relationships/package" Target="../embeddings/Microsoft_Excel_Worksheet2218.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20.xml.rels><?xml version='1.0' encoding='UTF-8' standalone='yes'?>
<Relationships xmlns="http://schemas.openxmlformats.org/package/2006/relationships"><Relationship Id="rId1" Type="http://schemas.microsoft.com/office/2011/relationships/chartStyle" Target="style660.xml"/><Relationship Id="rId2" Type="http://schemas.microsoft.com/office/2011/relationships/chartColorStyle" Target="colors660.xml"/><Relationship Id="rId3" Type="http://schemas.openxmlformats.org/officeDocument/2006/relationships/package" Target="../embeddings/Microsoft_Excel_Worksheet2219.xlsx"/></Relationships>
</file>

<file path=ppt/charts/_rels/chart2225.xml.rels><?xml version='1.0' encoding='UTF-8' standalone='yes'?>
<Relationships xmlns="http://schemas.openxmlformats.org/package/2006/relationships"><Relationship Id="rId1" Type="http://schemas.microsoft.com/office/2011/relationships/chartStyle" Target="style665.xml"/><Relationship Id="rId2" Type="http://schemas.microsoft.com/office/2011/relationships/chartColorStyle" Target="colors665.xml"/><Relationship Id="rId3" Type="http://schemas.openxmlformats.org/officeDocument/2006/relationships/package" Target="../embeddings/Microsoft_Excel_Worksheet2224.xlsx"/></Relationships>
</file>

<file path=ppt/charts/_rels/chart2226.xml.rels><?xml version='1.0' encoding='UTF-8' standalone='yes'?>
<Relationships xmlns="http://schemas.openxmlformats.org/package/2006/relationships"><Relationship Id="rId1" Type="http://schemas.microsoft.com/office/2011/relationships/chartStyle" Target="style666.xml"/><Relationship Id="rId2" Type="http://schemas.microsoft.com/office/2011/relationships/chartColorStyle" Target="colors666.xml"/><Relationship Id="rId3" Type="http://schemas.openxmlformats.org/officeDocument/2006/relationships/package" Target="../embeddings/Microsoft_Excel_Worksheet2225.xlsx"/></Relationships>
</file>

<file path=ppt/charts/_rels/chart2227.xml.rels><?xml version='1.0' encoding='UTF-8' standalone='yes'?>
<Relationships xmlns="http://schemas.openxmlformats.org/package/2006/relationships"><Relationship Id="rId1" Type="http://schemas.microsoft.com/office/2011/relationships/chartStyle" Target="style667.xml"/><Relationship Id="rId2" Type="http://schemas.microsoft.com/office/2011/relationships/chartColorStyle" Target="colors667.xml"/><Relationship Id="rId3" Type="http://schemas.openxmlformats.org/officeDocument/2006/relationships/package" Target="../embeddings/Microsoft_Excel_Worksheet2226.xlsx"/></Relationships>
</file>

<file path=ppt/charts/_rels/chart2228.xml.rels><?xml version='1.0' encoding='UTF-8' standalone='yes'?>
<Relationships xmlns="http://schemas.openxmlformats.org/package/2006/relationships"><Relationship Id="rId1" Type="http://schemas.microsoft.com/office/2011/relationships/chartStyle" Target="style668.xml"/><Relationship Id="rId2" Type="http://schemas.microsoft.com/office/2011/relationships/chartColorStyle" Target="colors668.xml"/><Relationship Id="rId3" Type="http://schemas.openxmlformats.org/officeDocument/2006/relationships/package" Target="../embeddings/Microsoft_Excel_Worksheet2227.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31.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2230.xlsx"/></Relationships>
</file>

<file path=ppt/charts/_rels/chart2232.xml.rels><?xml version='1.0' encoding='UTF-8' standalone='yes'?>
<Relationships xmlns="http://schemas.openxmlformats.org/package/2006/relationships"><Relationship Id="rId1" Type="http://schemas.microsoft.com/office/2011/relationships/chartStyle" Target="style672.xml"/><Relationship Id="rId2" Type="http://schemas.microsoft.com/office/2011/relationships/chartColorStyle" Target="colors672.xml"/><Relationship Id="rId3" Type="http://schemas.openxmlformats.org/officeDocument/2006/relationships/package" Target="../embeddings/Microsoft_Excel_Worksheet2231.xlsx"/></Relationships>
</file>

<file path=ppt/charts/_rels/chart2233.xml.rels><?xml version='1.0' encoding='UTF-8' standalone='yes'?>
<Relationships xmlns="http://schemas.openxmlformats.org/package/2006/relationships"><Relationship Id="rId1" Type="http://schemas.microsoft.com/office/2011/relationships/chartStyle" Target="style673.xml"/><Relationship Id="rId2" Type="http://schemas.microsoft.com/office/2011/relationships/chartColorStyle" Target="colors673.xml"/><Relationship Id="rId3" Type="http://schemas.openxmlformats.org/officeDocument/2006/relationships/package" Target="../embeddings/Microsoft_Excel_Worksheet2232.xlsx"/></Relationships>
</file>

<file path=ppt/charts/_rels/chart2234.xml.rels><?xml version='1.0' encoding='UTF-8' standalone='yes'?>
<Relationships xmlns="http://schemas.openxmlformats.org/package/2006/relationships"><Relationship Id="rId1" Type="http://schemas.microsoft.com/office/2011/relationships/chartStyle" Target="style674.xml"/><Relationship Id="rId2" Type="http://schemas.microsoft.com/office/2011/relationships/chartColorStyle" Target="colors674.xml"/><Relationship Id="rId3" Type="http://schemas.openxmlformats.org/officeDocument/2006/relationships/package" Target="../embeddings/Microsoft_Excel_Worksheet2233.xlsx"/></Relationships>
</file>

<file path=ppt/charts/_rels/chart2239.xml.rels><?xml version='1.0' encoding='UTF-8' standalone='yes'?>
<Relationships xmlns="http://schemas.openxmlformats.org/package/2006/relationships"><Relationship Id="rId1" Type="http://schemas.microsoft.com/office/2011/relationships/chartStyle" Target="style679.xml"/><Relationship Id="rId2" Type="http://schemas.microsoft.com/office/2011/relationships/chartColorStyle" Target="colors679.xml"/><Relationship Id="rId3" Type="http://schemas.openxmlformats.org/officeDocument/2006/relationships/package" Target="../embeddings/Microsoft_Excel_Worksheet2238.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40.xml.rels><?xml version='1.0' encoding='UTF-8' standalone='yes'?>
<Relationships xmlns="http://schemas.openxmlformats.org/package/2006/relationships"><Relationship Id="rId1" Type="http://schemas.microsoft.com/office/2011/relationships/chartStyle" Target="style680.xml"/><Relationship Id="rId2" Type="http://schemas.microsoft.com/office/2011/relationships/chartColorStyle" Target="colors680.xml"/><Relationship Id="rId3" Type="http://schemas.openxmlformats.org/officeDocument/2006/relationships/package" Target="../embeddings/Microsoft_Excel_Worksheet2239.xlsx"/></Relationships>
</file>

<file path=ppt/charts/_rels/chart2249.xml.rels><?xml version='1.0' encoding='UTF-8' standalone='yes'?>
<Relationships xmlns="http://schemas.openxmlformats.org/package/2006/relationships"><Relationship Id="rId1" Type="http://schemas.microsoft.com/office/2011/relationships/chartStyle" Target="style689.xml"/><Relationship Id="rId2" Type="http://schemas.microsoft.com/office/2011/relationships/chartColorStyle" Target="colors689.xml"/><Relationship Id="rId3" Type="http://schemas.openxmlformats.org/officeDocument/2006/relationships/package" Target="../embeddings/Microsoft_Excel_Worksheet2248.xlsx"/></Relationships>
</file>

<file path=ppt/charts/_rels/chart2250.xml.rels><?xml version='1.0' encoding='UTF-8' standalone='yes'?>
<Relationships xmlns="http://schemas.openxmlformats.org/package/2006/relationships"><Relationship Id="rId1" Type="http://schemas.microsoft.com/office/2011/relationships/chartStyle" Target="style690.xml"/><Relationship Id="rId2" Type="http://schemas.microsoft.com/office/2011/relationships/chartColorStyle" Target="colors690.xml"/><Relationship Id="rId3" Type="http://schemas.openxmlformats.org/officeDocument/2006/relationships/package" Target="../embeddings/Microsoft_Excel_Worksheet2249.xlsx"/></Relationships>
</file>

<file path=ppt/charts/_rels/chart2253.xml.rels><?xml version='1.0' encoding='UTF-8' standalone='yes'?>
<Relationships xmlns="http://schemas.openxmlformats.org/package/2006/relationships"><Relationship Id="rId1" Type="http://schemas.microsoft.com/office/2011/relationships/chartStyle" Target="style693.xml"/><Relationship Id="rId2" Type="http://schemas.microsoft.com/office/2011/relationships/chartColorStyle" Target="colors693.xml"/><Relationship Id="rId3" Type="http://schemas.openxmlformats.org/officeDocument/2006/relationships/package" Target="../embeddings/Microsoft_Excel_Worksheet2252.xlsx"/></Relationships>
</file>

<file path=ppt/charts/_rels/chart2254.xml.rels><?xml version='1.0' encoding='UTF-8' standalone='yes'?>
<Relationships xmlns="http://schemas.openxmlformats.org/package/2006/relationships"><Relationship Id="rId1" Type="http://schemas.microsoft.com/office/2011/relationships/chartStyle" Target="style694.xml"/><Relationship Id="rId2" Type="http://schemas.microsoft.com/office/2011/relationships/chartColorStyle" Target="colors694.xml"/><Relationship Id="rId3" Type="http://schemas.openxmlformats.org/officeDocument/2006/relationships/package" Target="../embeddings/Microsoft_Excel_Worksheet2253.xlsx"/></Relationships>
</file>

<file path=ppt/charts/_rels/chart2261.xml.rels><?xml version='1.0' encoding='UTF-8' standalone='yes'?>
<Relationships xmlns="http://schemas.openxmlformats.org/package/2006/relationships"><Relationship Id="rId1" Type="http://schemas.microsoft.com/office/2011/relationships/chartStyle" Target="style701.xml"/><Relationship Id="rId2" Type="http://schemas.microsoft.com/office/2011/relationships/chartColorStyle" Target="colors701.xml"/><Relationship Id="rId3" Type="http://schemas.openxmlformats.org/officeDocument/2006/relationships/package" Target="../embeddings/Microsoft_Excel_Worksheet2260.xlsx"/></Relationships>
</file>

<file path=ppt/charts/_rels/chart2262.xml.rels><?xml version='1.0' encoding='UTF-8' standalone='yes'?>
<Relationships xmlns="http://schemas.openxmlformats.org/package/2006/relationships"><Relationship Id="rId1" Type="http://schemas.microsoft.com/office/2011/relationships/chartStyle" Target="style702.xml"/><Relationship Id="rId2" Type="http://schemas.microsoft.com/office/2011/relationships/chartColorStyle" Target="colors702.xml"/><Relationship Id="rId3" Type="http://schemas.openxmlformats.org/officeDocument/2006/relationships/package" Target="../embeddings/Microsoft_Excel_Worksheet2261.xlsx"/></Relationships>
</file>

<file path=ppt/charts/_rels/chart2263.xml.rels><?xml version='1.0' encoding='UTF-8' standalone='yes'?>
<Relationships xmlns="http://schemas.openxmlformats.org/package/2006/relationships"><Relationship Id="rId1" Type="http://schemas.microsoft.com/office/2011/relationships/chartStyle" Target="style703.xml"/><Relationship Id="rId2" Type="http://schemas.microsoft.com/office/2011/relationships/chartColorStyle" Target="colors703.xml"/><Relationship Id="rId3" Type="http://schemas.openxmlformats.org/officeDocument/2006/relationships/package" Target="../embeddings/Microsoft_Excel_Worksheet2262.xlsx"/></Relationships>
</file>

<file path=ppt/charts/_rels/chart2264.xml.rels><?xml version='1.0' encoding='UTF-8' standalone='yes'?>
<Relationships xmlns="http://schemas.openxmlformats.org/package/2006/relationships"><Relationship Id="rId1" Type="http://schemas.microsoft.com/office/2011/relationships/chartStyle" Target="style704.xml"/><Relationship Id="rId2" Type="http://schemas.microsoft.com/office/2011/relationships/chartColorStyle" Target="colors704.xml"/><Relationship Id="rId3" Type="http://schemas.openxmlformats.org/officeDocument/2006/relationships/package" Target="../embeddings/Microsoft_Excel_Worksheet2263.xlsx"/></Relationships>
</file>

<file path=ppt/charts/_rels/chart2275.xml.rels><?xml version='1.0' encoding='UTF-8' standalone='yes'?>
<Relationships xmlns="http://schemas.openxmlformats.org/package/2006/relationships"><Relationship Id="rId1" Type="http://schemas.microsoft.com/office/2011/relationships/chartStyle" Target="style715.xml"/><Relationship Id="rId2" Type="http://schemas.microsoft.com/office/2011/relationships/chartColorStyle" Target="colors715.xml"/><Relationship Id="rId3" Type="http://schemas.openxmlformats.org/officeDocument/2006/relationships/package" Target="../embeddings/Microsoft_Excel_Worksheet2274.xlsx"/></Relationships>
</file>

<file path=ppt/charts/_rels/chart2276.xml.rels><?xml version='1.0' encoding='UTF-8' standalone='yes'?>
<Relationships xmlns="http://schemas.openxmlformats.org/package/2006/relationships"><Relationship Id="rId1" Type="http://schemas.microsoft.com/office/2011/relationships/chartStyle" Target="style716.xml"/><Relationship Id="rId2" Type="http://schemas.microsoft.com/office/2011/relationships/chartColorStyle" Target="colors716.xml"/><Relationship Id="rId3" Type="http://schemas.openxmlformats.org/officeDocument/2006/relationships/package" Target="../embeddings/Microsoft_Excel_Worksheet2275.xlsx"/></Relationships>
</file>

<file path=ppt/charts/_rels/chart2277.xml.rels><?xml version='1.0' encoding='UTF-8' standalone='yes'?>
<Relationships xmlns="http://schemas.openxmlformats.org/package/2006/relationships"><Relationship Id="rId1" Type="http://schemas.microsoft.com/office/2011/relationships/chartStyle" Target="style717.xml"/><Relationship Id="rId2" Type="http://schemas.microsoft.com/office/2011/relationships/chartColorStyle" Target="colors717.xml"/><Relationship Id="rId3" Type="http://schemas.openxmlformats.org/officeDocument/2006/relationships/package" Target="../embeddings/Microsoft_Excel_Worksheet2276.xlsx"/></Relationships>
</file>

<file path=ppt/charts/_rels/chart2278.xml.rels><?xml version='1.0' encoding='UTF-8' standalone='yes'?>
<Relationships xmlns="http://schemas.openxmlformats.org/package/2006/relationships"><Relationship Id="rId1" Type="http://schemas.microsoft.com/office/2011/relationships/chartStyle" Target="style718.xml"/><Relationship Id="rId2" Type="http://schemas.microsoft.com/office/2011/relationships/chartColorStyle" Target="colors718.xml"/><Relationship Id="rId3" Type="http://schemas.openxmlformats.org/officeDocument/2006/relationships/package" Target="../embeddings/Microsoft_Excel_Worksheet2277.xlsx"/></Relationships>
</file>

<file path=ppt/charts/_rels/chart2283.xml.rels><?xml version='1.0' encoding='UTF-8' standalone='yes'?>
<Relationships xmlns="http://schemas.openxmlformats.org/package/2006/relationships"><Relationship Id="rId1" Type="http://schemas.microsoft.com/office/2011/relationships/chartStyle" Target="style723.xml"/><Relationship Id="rId2" Type="http://schemas.microsoft.com/office/2011/relationships/chartColorStyle" Target="colors723.xml"/><Relationship Id="rId3" Type="http://schemas.openxmlformats.org/officeDocument/2006/relationships/package" Target="../embeddings/Microsoft_Excel_Worksheet2282.xlsx"/></Relationships>
</file>

<file path=ppt/charts/_rels/chart2284.xml.rels><?xml version='1.0' encoding='UTF-8' standalone='yes'?>
<Relationships xmlns="http://schemas.openxmlformats.org/package/2006/relationships"><Relationship Id="rId1" Type="http://schemas.microsoft.com/office/2011/relationships/chartStyle" Target="style724.xml"/><Relationship Id="rId2" Type="http://schemas.microsoft.com/office/2011/relationships/chartColorStyle" Target="colors724.xml"/><Relationship Id="rId3" Type="http://schemas.openxmlformats.org/officeDocument/2006/relationships/package" Target="../embeddings/Microsoft_Excel_Worksheet2283.xlsx"/></Relationships>
</file>

<file path=ppt/charts/_rels/chart2285.xml.rels><?xml version='1.0' encoding='UTF-8' standalone='yes'?>
<Relationships xmlns="http://schemas.openxmlformats.org/package/2006/relationships"><Relationship Id="rId1" Type="http://schemas.microsoft.com/office/2011/relationships/chartStyle" Target="style725.xml"/><Relationship Id="rId2" Type="http://schemas.microsoft.com/office/2011/relationships/chartColorStyle" Target="colors725.xml"/><Relationship Id="rId3" Type="http://schemas.openxmlformats.org/officeDocument/2006/relationships/package" Target="../embeddings/Microsoft_Excel_Worksheet2284.xlsx"/></Relationships>
</file>

<file path=ppt/charts/_rels/chart2286.xml.rels><?xml version='1.0' encoding='UTF-8' standalone='yes'?>
<Relationships xmlns="http://schemas.openxmlformats.org/package/2006/relationships"><Relationship Id="rId1" Type="http://schemas.microsoft.com/office/2011/relationships/chartStyle" Target="style726.xml"/><Relationship Id="rId2" Type="http://schemas.microsoft.com/office/2011/relationships/chartColorStyle" Target="colors726.xml"/><Relationship Id="rId3" Type="http://schemas.openxmlformats.org/officeDocument/2006/relationships/package" Target="../embeddings/Microsoft_Excel_Worksheet2285.xlsx"/></Relationships>
</file>

<file path=ppt/charts/_rels/chart2297.xml.rels><?xml version='1.0' encoding='UTF-8' standalone='yes'?>
<Relationships xmlns="http://schemas.openxmlformats.org/package/2006/relationships"><Relationship Id="rId1" Type="http://schemas.microsoft.com/office/2011/relationships/chartStyle" Target="style737.xml"/><Relationship Id="rId2" Type="http://schemas.microsoft.com/office/2011/relationships/chartColorStyle" Target="colors737.xml"/><Relationship Id="rId3" Type="http://schemas.openxmlformats.org/officeDocument/2006/relationships/package" Target="../embeddings/Microsoft_Excel_Worksheet2296.xlsx"/></Relationships>
</file>

<file path=ppt/charts/_rels/chart2298.xml.rels><?xml version='1.0' encoding='UTF-8' standalone='yes'?>
<Relationships xmlns="http://schemas.openxmlformats.org/package/2006/relationships"><Relationship Id="rId1" Type="http://schemas.microsoft.com/office/2011/relationships/chartStyle" Target="style738.xml"/><Relationship Id="rId2" Type="http://schemas.microsoft.com/office/2011/relationships/chartColorStyle" Target="colors738.xml"/><Relationship Id="rId3" Type="http://schemas.openxmlformats.org/officeDocument/2006/relationships/package" Target="../embeddings/Microsoft_Excel_Worksheet2297.xlsx"/></Relationships>
</file>

<file path=ppt/charts/_rels/chart2305.xml.rels><?xml version='1.0' encoding='UTF-8' standalone='yes'?>
<Relationships xmlns="http://schemas.openxmlformats.org/package/2006/relationships"><Relationship Id="rId1" Type="http://schemas.microsoft.com/office/2011/relationships/chartStyle" Target="style745.xml"/><Relationship Id="rId2" Type="http://schemas.microsoft.com/office/2011/relationships/chartColorStyle" Target="colors745.xml"/><Relationship Id="rId3" Type="http://schemas.openxmlformats.org/officeDocument/2006/relationships/package" Target="../embeddings/Microsoft_Excel_Worksheet2304.xlsx"/></Relationships>
</file>

<file path=ppt/charts/_rels/chart2306.xml.rels><?xml version='1.0' encoding='UTF-8' standalone='yes'?>
<Relationships xmlns="http://schemas.openxmlformats.org/package/2006/relationships"><Relationship Id="rId1" Type="http://schemas.microsoft.com/office/2011/relationships/chartStyle" Target="style746.xml"/><Relationship Id="rId2" Type="http://schemas.microsoft.com/office/2011/relationships/chartColorStyle" Target="colors746.xml"/><Relationship Id="rId3" Type="http://schemas.openxmlformats.org/officeDocument/2006/relationships/package" Target="../embeddings/Microsoft_Excel_Worksheet2305.xlsx"/></Relationships>
</file>

<file path=ppt/charts/_rels/chart2307.xml.rels><?xml version='1.0' encoding='UTF-8' standalone='yes'?>
<Relationships xmlns="http://schemas.openxmlformats.org/package/2006/relationships"><Relationship Id="rId1" Type="http://schemas.microsoft.com/office/2011/relationships/chartStyle" Target="style747.xml"/><Relationship Id="rId2" Type="http://schemas.microsoft.com/office/2011/relationships/chartColorStyle" Target="colors747.xml"/><Relationship Id="rId3" Type="http://schemas.openxmlformats.org/officeDocument/2006/relationships/package" Target="../embeddings/Microsoft_Excel_Worksheet2306.xlsx"/></Relationships>
</file>

<file path=ppt/charts/_rels/chart2308.xml.rels><?xml version='1.0' encoding='UTF-8' standalone='yes'?>
<Relationships xmlns="http://schemas.openxmlformats.org/package/2006/relationships"><Relationship Id="rId1" Type="http://schemas.microsoft.com/office/2011/relationships/chartStyle" Target="style748.xml"/><Relationship Id="rId2" Type="http://schemas.microsoft.com/office/2011/relationships/chartColorStyle" Target="colors748.xml"/><Relationship Id="rId3" Type="http://schemas.openxmlformats.org/officeDocument/2006/relationships/package" Target="../embeddings/Microsoft_Excel_Worksheet2307.xlsx"/></Relationships>
</file>

<file path=ppt/charts/_rels/chart2311.xml.rels><?xml version='1.0' encoding='UTF-8' standalone='yes'?>
<Relationships xmlns="http://schemas.openxmlformats.org/package/2006/relationships"><Relationship Id="rId1" Type="http://schemas.microsoft.com/office/2011/relationships/chartStyle" Target="style751.xml"/><Relationship Id="rId2" Type="http://schemas.microsoft.com/office/2011/relationships/chartColorStyle" Target="colors751.xml"/><Relationship Id="rId3" Type="http://schemas.openxmlformats.org/officeDocument/2006/relationships/package" Target="../embeddings/Microsoft_Excel_Worksheet2310.xlsx"/></Relationships>
</file>

<file path=ppt/charts/_rels/chart2312.xml.rels><?xml version='1.0' encoding='UTF-8' standalone='yes'?>
<Relationships xmlns="http://schemas.openxmlformats.org/package/2006/relationships"><Relationship Id="rId1" Type="http://schemas.microsoft.com/office/2011/relationships/chartStyle" Target="style752.xml"/><Relationship Id="rId2" Type="http://schemas.microsoft.com/office/2011/relationships/chartColorStyle" Target="colors752.xml"/><Relationship Id="rId3" Type="http://schemas.openxmlformats.org/officeDocument/2006/relationships/package" Target="../embeddings/Microsoft_Excel_Worksheet2311.xlsx"/></Relationships>
</file>

<file path=ppt/charts/_rels/chart2319.xml.rels><?xml version='1.0' encoding='UTF-8' standalone='yes'?>
<Relationships xmlns="http://schemas.openxmlformats.org/package/2006/relationships"><Relationship Id="rId1" Type="http://schemas.microsoft.com/office/2011/relationships/chartStyle" Target="style759.xml"/><Relationship Id="rId2" Type="http://schemas.microsoft.com/office/2011/relationships/chartColorStyle" Target="colors759.xml"/><Relationship Id="rId3" Type="http://schemas.openxmlformats.org/officeDocument/2006/relationships/package" Target="../embeddings/Microsoft_Excel_Worksheet2318.xlsx"/></Relationships>
</file>

<file path=ppt/charts/_rels/chart2320.xml.rels><?xml version='1.0' encoding='UTF-8' standalone='yes'?>
<Relationships xmlns="http://schemas.openxmlformats.org/package/2006/relationships"><Relationship Id="rId1" Type="http://schemas.microsoft.com/office/2011/relationships/chartStyle" Target="style760.xml"/><Relationship Id="rId2" Type="http://schemas.microsoft.com/office/2011/relationships/chartColorStyle" Target="colors760.xml"/><Relationship Id="rId3" Type="http://schemas.openxmlformats.org/officeDocument/2006/relationships/package" Target="../embeddings/Microsoft_Excel_Worksheet2319.xlsx"/></Relationships>
</file>

<file path=ppt/charts/_rels/chart2321.xml.rels><?xml version='1.0' encoding='UTF-8' standalone='yes'?>
<Relationships xmlns="http://schemas.openxmlformats.org/package/2006/relationships"><Relationship Id="rId1" Type="http://schemas.microsoft.com/office/2011/relationships/chartStyle" Target="style761.xml"/><Relationship Id="rId2" Type="http://schemas.microsoft.com/office/2011/relationships/chartColorStyle" Target="colors761.xml"/><Relationship Id="rId3" Type="http://schemas.openxmlformats.org/officeDocument/2006/relationships/package" Target="../embeddings/Microsoft_Excel_Worksheet2320.xlsx"/></Relationships>
</file>

<file path=ppt/charts/_rels/chart2322.xml.rels><?xml version='1.0' encoding='UTF-8' standalone='yes'?>
<Relationships xmlns="http://schemas.openxmlformats.org/package/2006/relationships"><Relationship Id="rId1" Type="http://schemas.microsoft.com/office/2011/relationships/chartStyle" Target="style762.xml"/><Relationship Id="rId2" Type="http://schemas.microsoft.com/office/2011/relationships/chartColorStyle" Target="colors762.xml"/><Relationship Id="rId3" Type="http://schemas.openxmlformats.org/officeDocument/2006/relationships/package" Target="../embeddings/Microsoft_Excel_Worksheet2321.xlsx"/></Relationships>
</file>

<file path=ppt/charts/_rels/chart2327.xml.rels><?xml version='1.0' encoding='UTF-8' standalone='yes'?>
<Relationships xmlns="http://schemas.openxmlformats.org/package/2006/relationships"><Relationship Id="rId1" Type="http://schemas.microsoft.com/office/2011/relationships/chartStyle" Target="style767.xml"/><Relationship Id="rId2" Type="http://schemas.microsoft.com/office/2011/relationships/chartColorStyle" Target="colors767.xml"/><Relationship Id="rId3" Type="http://schemas.openxmlformats.org/officeDocument/2006/relationships/package" Target="../embeddings/Microsoft_Excel_Worksheet2326.xlsx"/></Relationships>
</file>

<file path=ppt/charts/_rels/chart2328.xml.rels><?xml version='1.0' encoding='UTF-8' standalone='yes'?>
<Relationships xmlns="http://schemas.openxmlformats.org/package/2006/relationships"><Relationship Id="rId1" Type="http://schemas.microsoft.com/office/2011/relationships/chartStyle" Target="style768.xml"/><Relationship Id="rId2" Type="http://schemas.microsoft.com/office/2011/relationships/chartColorStyle" Target="colors768.xml"/><Relationship Id="rId3" Type="http://schemas.openxmlformats.org/officeDocument/2006/relationships/package" Target="../embeddings/Microsoft_Excel_Worksheet2327.xlsx"/></Relationships>
</file>

<file path=ppt/charts/_rels/chart2329.xml.rels><?xml version='1.0' encoding='UTF-8' standalone='yes'?>
<Relationships xmlns="http://schemas.openxmlformats.org/package/2006/relationships"><Relationship Id="rId1" Type="http://schemas.microsoft.com/office/2011/relationships/chartStyle" Target="style769.xml"/><Relationship Id="rId2" Type="http://schemas.microsoft.com/office/2011/relationships/chartColorStyle" Target="colors769.xml"/><Relationship Id="rId3" Type="http://schemas.openxmlformats.org/officeDocument/2006/relationships/package" Target="../embeddings/Microsoft_Excel_Worksheet2328.xlsx"/></Relationships>
</file>

<file path=ppt/charts/_rels/chart2330.xml.rels><?xml version='1.0' encoding='UTF-8' standalone='yes'?>
<Relationships xmlns="http://schemas.openxmlformats.org/package/2006/relationships"><Relationship Id="rId1" Type="http://schemas.microsoft.com/office/2011/relationships/chartStyle" Target="style770.xml"/><Relationship Id="rId2" Type="http://schemas.microsoft.com/office/2011/relationships/chartColorStyle" Target="colors770.xml"/><Relationship Id="rId3" Type="http://schemas.openxmlformats.org/officeDocument/2006/relationships/package" Target="../embeddings/Microsoft_Excel_Worksheet2329.xlsx"/></Relationships>
</file>

<file path=ppt/charts/_rels/chart2331.xml.rels><?xml version='1.0' encoding='UTF-8' standalone='yes'?>
<Relationships xmlns="http://schemas.openxmlformats.org/package/2006/relationships"><Relationship Id="rId1" Type="http://schemas.microsoft.com/office/2011/relationships/chartStyle" Target="style771.xml"/><Relationship Id="rId2" Type="http://schemas.microsoft.com/office/2011/relationships/chartColorStyle" Target="colors771.xml"/><Relationship Id="rId3" Type="http://schemas.openxmlformats.org/officeDocument/2006/relationships/package" Target="../embeddings/Microsoft_Excel_Worksheet2330.xlsx"/></Relationships>
</file>

<file path=ppt/charts/_rels/chart2332.xml.rels><?xml version='1.0' encoding='UTF-8' standalone='yes'?>
<Relationships xmlns="http://schemas.openxmlformats.org/package/2006/relationships"><Relationship Id="rId1" Type="http://schemas.microsoft.com/office/2011/relationships/chartStyle" Target="style772.xml"/><Relationship Id="rId2" Type="http://schemas.microsoft.com/office/2011/relationships/chartColorStyle" Target="colors772.xml"/><Relationship Id="rId3" Type="http://schemas.openxmlformats.org/officeDocument/2006/relationships/package" Target="../embeddings/Microsoft_Excel_Worksheet2331.xlsx"/></Relationships>
</file>

<file path=ppt/charts/_rels/chart2333.xml.rels><?xml version='1.0' encoding='UTF-8' standalone='yes'?>
<Relationships xmlns="http://schemas.openxmlformats.org/package/2006/relationships"><Relationship Id="rId1" Type="http://schemas.microsoft.com/office/2011/relationships/chartStyle" Target="style773.xml"/><Relationship Id="rId2" Type="http://schemas.microsoft.com/office/2011/relationships/chartColorStyle" Target="colors773.xml"/><Relationship Id="rId3" Type="http://schemas.openxmlformats.org/officeDocument/2006/relationships/package" Target="../embeddings/Microsoft_Excel_Worksheet2332.xlsx"/></Relationships>
</file>

<file path=ppt/charts/_rels/chart2334.xml.rels><?xml version='1.0' encoding='UTF-8' standalone='yes'?>
<Relationships xmlns="http://schemas.openxmlformats.org/package/2006/relationships"><Relationship Id="rId1" Type="http://schemas.microsoft.com/office/2011/relationships/chartStyle" Target="style774.xml"/><Relationship Id="rId2" Type="http://schemas.microsoft.com/office/2011/relationships/chartColorStyle" Target="colors774.xml"/><Relationship Id="rId3" Type="http://schemas.openxmlformats.org/officeDocument/2006/relationships/package" Target="../embeddings/Microsoft_Excel_Worksheet2333.xlsx"/></Relationships>
</file>

<file path=ppt/charts/_rels/chart2335.xml.rels><?xml version='1.0' encoding='UTF-8' standalone='yes'?>
<Relationships xmlns="http://schemas.openxmlformats.org/package/2006/relationships"><Relationship Id="rId1" Type="http://schemas.microsoft.com/office/2011/relationships/chartStyle" Target="style775.xml"/><Relationship Id="rId2" Type="http://schemas.microsoft.com/office/2011/relationships/chartColorStyle" Target="colors775.xml"/><Relationship Id="rId3" Type="http://schemas.openxmlformats.org/officeDocument/2006/relationships/package" Target="../embeddings/Microsoft_Excel_Worksheet2334.xlsx"/></Relationships>
</file>

<file path=ppt/charts/_rels/chart2336.xml.rels><?xml version='1.0' encoding='UTF-8' standalone='yes'?>
<Relationships xmlns="http://schemas.openxmlformats.org/package/2006/relationships"><Relationship Id="rId1" Type="http://schemas.microsoft.com/office/2011/relationships/chartStyle" Target="style776.xml"/><Relationship Id="rId2" Type="http://schemas.microsoft.com/office/2011/relationships/chartColorStyle" Target="colors776.xml"/><Relationship Id="rId3" Type="http://schemas.openxmlformats.org/officeDocument/2006/relationships/package" Target="../embeddings/Microsoft_Excel_Worksheet2335.xlsx"/></Relationships>
</file>

<file path=ppt/charts/_rels/chart2341.xml.rels><?xml version='1.0' encoding='UTF-8' standalone='yes'?>
<Relationships xmlns="http://schemas.openxmlformats.org/package/2006/relationships"><Relationship Id="rId1" Type="http://schemas.microsoft.com/office/2011/relationships/chartStyle" Target="style781.xml"/><Relationship Id="rId2" Type="http://schemas.microsoft.com/office/2011/relationships/chartColorStyle" Target="colors781.xml"/><Relationship Id="rId3" Type="http://schemas.openxmlformats.org/officeDocument/2006/relationships/package" Target="../embeddings/Microsoft_Excel_Worksheet2340.xlsx"/></Relationships>
</file>

<file path=ppt/charts/_rels/chart2342.xml.rels><?xml version='1.0' encoding='UTF-8' standalone='yes'?>
<Relationships xmlns="http://schemas.openxmlformats.org/package/2006/relationships"><Relationship Id="rId1" Type="http://schemas.microsoft.com/office/2011/relationships/chartStyle" Target="style782.xml"/><Relationship Id="rId2" Type="http://schemas.microsoft.com/office/2011/relationships/chartColorStyle" Target="colors782.xml"/><Relationship Id="rId3" Type="http://schemas.openxmlformats.org/officeDocument/2006/relationships/package" Target="../embeddings/Microsoft_Excel_Worksheet2341.xlsx"/></Relationships>
</file>

<file path=ppt/charts/_rels/chart2349.xml.rels><?xml version='1.0' encoding='UTF-8' standalone='yes'?>
<Relationships xmlns="http://schemas.openxmlformats.org/package/2006/relationships"><Relationship Id="rId1" Type="http://schemas.microsoft.com/office/2011/relationships/chartStyle" Target="style789.xml"/><Relationship Id="rId2" Type="http://schemas.microsoft.com/office/2011/relationships/chartColorStyle" Target="colors789.xml"/><Relationship Id="rId3" Type="http://schemas.openxmlformats.org/officeDocument/2006/relationships/package" Target="../embeddings/Microsoft_Excel_Worksheet2348.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50.xml.rels><?xml version='1.0' encoding='UTF-8' standalone='yes'?>
<Relationships xmlns="http://schemas.openxmlformats.org/package/2006/relationships"><Relationship Id="rId1" Type="http://schemas.microsoft.com/office/2011/relationships/chartStyle" Target="style790.xml"/><Relationship Id="rId2" Type="http://schemas.microsoft.com/office/2011/relationships/chartColorStyle" Target="colors790.xml"/><Relationship Id="rId3" Type="http://schemas.openxmlformats.org/officeDocument/2006/relationships/package" Target="../embeddings/Microsoft_Excel_Worksheet2349.xlsx"/></Relationships>
</file>

<file path=ppt/charts/_rels/chart2355.xml.rels><?xml version='1.0' encoding='UTF-8' standalone='yes'?>
<Relationships xmlns="http://schemas.openxmlformats.org/package/2006/relationships"><Relationship Id="rId1" Type="http://schemas.microsoft.com/office/2011/relationships/chartStyle" Target="style795.xml"/><Relationship Id="rId2" Type="http://schemas.microsoft.com/office/2011/relationships/chartColorStyle" Target="colors795.xml"/><Relationship Id="rId3" Type="http://schemas.openxmlformats.org/officeDocument/2006/relationships/package" Target="../embeddings/Microsoft_Excel_Worksheet2354.xlsx"/></Relationships>
</file>

<file path=ppt/charts/_rels/chart2356.xml.rels><?xml version='1.0' encoding='UTF-8' standalone='yes'?>
<Relationships xmlns="http://schemas.openxmlformats.org/package/2006/relationships"><Relationship Id="rId1" Type="http://schemas.microsoft.com/office/2011/relationships/chartStyle" Target="style796.xml"/><Relationship Id="rId2" Type="http://schemas.microsoft.com/office/2011/relationships/chartColorStyle" Target="colors796.xml"/><Relationship Id="rId3" Type="http://schemas.openxmlformats.org/officeDocument/2006/relationships/package" Target="../embeddings/Microsoft_Excel_Worksheet2355.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63.xml.rels><?xml version='1.0' encoding='UTF-8' standalone='yes'?>
<Relationships xmlns="http://schemas.openxmlformats.org/package/2006/relationships"><Relationship Id="rId1" Type="http://schemas.microsoft.com/office/2011/relationships/chartStyle" Target="style803.xml"/><Relationship Id="rId2" Type="http://schemas.microsoft.com/office/2011/relationships/chartColorStyle" Target="colors803.xml"/><Relationship Id="rId3" Type="http://schemas.openxmlformats.org/officeDocument/2006/relationships/package" Target="../embeddings/Microsoft_Excel_Worksheet2362.xlsx"/></Relationships>
</file>

<file path=ppt/charts/_rels/chart2364.xml.rels><?xml version='1.0' encoding='UTF-8' standalone='yes'?>
<Relationships xmlns="http://schemas.openxmlformats.org/package/2006/relationships"><Relationship Id="rId1" Type="http://schemas.microsoft.com/office/2011/relationships/chartStyle" Target="style804.xml"/><Relationship Id="rId2" Type="http://schemas.microsoft.com/office/2011/relationships/chartColorStyle" Target="colors804.xml"/><Relationship Id="rId3" Type="http://schemas.openxmlformats.org/officeDocument/2006/relationships/package" Target="../embeddings/Microsoft_Excel_Worksheet2363.xlsx"/></Relationships>
</file>

<file path=ppt/charts/_rels/chart2365.xml.rels><?xml version='1.0' encoding='UTF-8' standalone='yes'?>
<Relationships xmlns="http://schemas.openxmlformats.org/package/2006/relationships"><Relationship Id="rId1" Type="http://schemas.microsoft.com/office/2011/relationships/chartStyle" Target="style805.xml"/><Relationship Id="rId2" Type="http://schemas.microsoft.com/office/2011/relationships/chartColorStyle" Target="colors805.xml"/><Relationship Id="rId3" Type="http://schemas.openxmlformats.org/officeDocument/2006/relationships/package" Target="../embeddings/Microsoft_Excel_Worksheet2364.xlsx"/></Relationships>
</file>

<file path=ppt/charts/_rels/chart2366.xml.rels><?xml version='1.0' encoding='UTF-8' standalone='yes'?>
<Relationships xmlns="http://schemas.openxmlformats.org/package/2006/relationships"><Relationship Id="rId1" Type="http://schemas.microsoft.com/office/2011/relationships/chartStyle" Target="style806.xml"/><Relationship Id="rId2" Type="http://schemas.microsoft.com/office/2011/relationships/chartColorStyle" Target="colors806.xml"/><Relationship Id="rId3" Type="http://schemas.openxmlformats.org/officeDocument/2006/relationships/package" Target="../embeddings/Microsoft_Excel_Worksheet2365.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837277226722881</c:v>
                </c:pt>
                <c:pt idx="1">
                  <c:v>0.7082921980430673</c:v>
                </c:pt>
                <c:pt idx="2">
                  <c:v>0.728852928792215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45986706378793</c:v>
                </c:pt>
                <c:pt idx="1">
                  <c:v>0.22153100803773537</c:v>
                </c:pt>
                <c:pt idx="2">
                  <c:v>0.194120753490019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202365596114182</c:v>
                </c:pt>
                <c:pt idx="1">
                  <c:v>0.06636885099849674</c:v>
                </c:pt>
                <c:pt idx="2">
                  <c:v>0.0766416769440488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9649684091016504</c:v>
                </c:pt>
                <c:pt idx="1">
                  <c:v>0.0038068605614116455</c:v>
                </c:pt>
                <c:pt idx="2">
                  <c:v>0.000383572623831150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6663767426355175e-07</c:v>
                </c:pt>
                <c:pt idx="1">
                  <c:v>1.0823592888953588e-06</c:v>
                </c:pt>
                <c:pt idx="2">
                  <c:v>1.0681498853554728e-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9746030792306</c:v>
                </c:pt>
                <c:pt idx="1">
                  <c:v>0.5806731497876508</c:v>
                </c:pt>
                <c:pt idx="2">
                  <c:v>0.590660941442999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571591499569947</c:v>
                </c:pt>
                <c:pt idx="1">
                  <c:v>0.30531490553051305</c:v>
                </c:pt>
                <c:pt idx="2">
                  <c:v>0.28040111364655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51968831608123</c:v>
                </c:pt>
                <c:pt idx="1">
                  <c:v>0.11046242663354974</c:v>
                </c:pt>
                <c:pt idx="2">
                  <c:v>0.1281043510790354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934028090719025</c:v>
                </c:pt>
                <c:pt idx="1">
                  <c:v>0.0035470355206263914</c:v>
                </c:pt>
                <c:pt idx="2">
                  <c:v>0.000832012059429545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901439919174925e-07</c:v>
                </c:pt>
                <c:pt idx="1">
                  <c:v>2.482527660012872e-06</c:v>
                </c:pt>
                <c:pt idx="2">
                  <c:v>1.5817719761017981e-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4%</a:t>
                    </a:r>
                  </a:p>
                </c:rich>
              </c:tx>
              <c:showLegendKey val="0"/>
              <c:showVal val="1"/>
              <c:showCatName val="0"/>
              <c:showSerName val="0"/>
              <c:showPercent val="0"/>
              <c:showBubbleSize val="0"/>
            </c:dLbl>
            <c:dLbl>
              <c:idx val="1"/>
              <c:tx>
                <c:rich>
                  <a:bodyPr/>
                  <a:lstStyle/>
                  <a:p>
                    <a:r>
                      <a:rPr sz="800">
                        <a:solidFill>
                          <a:srgbClr val="FFFFFF"/>
                        </a:solidFill>
                        <a:latin typeface="Nexa Book"/>
                      </a:rPr>
                      <a:t>67%</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389171342494525</c:v>
                </c:pt>
                <c:pt idx="1">
                  <c:v>0.6662420096101915</c:v>
                </c:pt>
                <c:pt idx="2">
                  <c:v>0.667438256738568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945740626234506</c:v>
                </c:pt>
                <c:pt idx="1">
                  <c:v>0.17334632309855044</c:v>
                </c:pt>
                <c:pt idx="2">
                  <c:v>0.17589941621550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162545948820242</c:v>
                </c:pt>
                <c:pt idx="1">
                  <c:v>0.1253646862481899</c:v>
                </c:pt>
                <c:pt idx="2">
                  <c:v>0.118392101706764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350453537967156</c:v>
                </c:pt>
                <c:pt idx="2">
                  <c:v>0.0382702253391647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1.6272463525679818e-06</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23252608752811</c:v>
                </c:pt>
                <c:pt idx="1">
                  <c:v>0.5262178341825479</c:v>
                </c:pt>
                <c:pt idx="2">
                  <c:v>0.50906640709586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917412729760225</c:v>
                </c:pt>
                <c:pt idx="1">
                  <c:v>0.2208343826673494</c:v>
                </c:pt>
                <c:pt idx="2">
                  <c:v>0.252075199846387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850061182711657</c:v>
                </c:pt>
                <c:pt idx="1">
                  <c:v>0.2302037916068397</c:v>
                </c:pt>
                <c:pt idx="2">
                  <c:v>0.2130610923417504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22740808729185887</c:v>
                </c:pt>
                <c:pt idx="2">
                  <c:v>0.0257973007159921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3.182814077109241e-06</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70%</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895187709053122</c:v>
                </c:pt>
                <c:pt idx="1">
                  <c:v>0.7001131206475502</c:v>
                </c:pt>
                <c:pt idx="2">
                  <c:v>0.72338724131750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0044757830841</c:v>
                </c:pt>
                <c:pt idx="1">
                  <c:v>0.2527975088003522</c:v>
                </c:pt>
                <c:pt idx="2">
                  <c:v>0.232466117935779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146186687504706</c:v>
                </c:pt>
                <c:pt idx="1">
                  <c:v>0.04189338210522691</c:v>
                </c:pt>
                <c:pt idx="2">
                  <c:v>0.0434938586428491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897310596794803</c:v>
                </c:pt>
                <c:pt idx="1">
                  <c:v>0.005195052637410518</c:v>
                </c:pt>
                <c:pt idx="2">
                  <c:v>0.000652782103866073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4984208517248885e-06</c:v>
                </c:pt>
                <c:pt idx="1">
                  <c:v>9.358094602101304e-07</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48070875345968</c:v>
                </c:pt>
                <c:pt idx="1">
                  <c:v>0.5619465403126802</c:v>
                </c:pt>
                <c:pt idx="2">
                  <c:v>0.57075236487022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0474689351604</c:v>
                </c:pt>
                <c:pt idx="1">
                  <c:v>0.3477370619134762</c:v>
                </c:pt>
                <c:pt idx="2">
                  <c:v>0.33889238847923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623305354238468</c:v>
                </c:pt>
                <c:pt idx="1">
                  <c:v>0.08542530887526198</c:v>
                </c:pt>
                <c:pt idx="2">
                  <c:v>0.088684618682871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8482027265162884</c:v>
                </c:pt>
                <c:pt idx="1">
                  <c:v>0.004889718365790405</c:v>
                </c:pt>
                <c:pt idx="2">
                  <c:v>0.00167062796766731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1423062516811342e-06</c:v>
                </c:pt>
                <c:pt idx="1">
                  <c:v>1.3705327911962456e-06</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2%</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246728752154071</c:v>
                </c:pt>
                <c:pt idx="1">
                  <c:v>0.6426643775230848</c:v>
                </c:pt>
                <c:pt idx="2">
                  <c:v>0.62599782444983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020317242065557</c:v>
                </c:pt>
                <c:pt idx="1">
                  <c:v>0.2187374135770962</c:v>
                </c:pt>
                <c:pt idx="2">
                  <c:v>0.227193616357703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512395236393735</c:v>
                </c:pt>
                <c:pt idx="1">
                  <c:v>0.1275124124170572</c:v>
                </c:pt>
                <c:pt idx="2">
                  <c:v>0.1342109066567270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1108579648276182</c:v>
                </c:pt>
                <c:pt idx="2">
                  <c:v>0.01259765253573303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68691894126121</c:v>
                </c:pt>
                <c:pt idx="1">
                  <c:v>0.5244004864855205</c:v>
                </c:pt>
                <c:pt idx="2">
                  <c:v>0.4766198437990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717782106961915</c:v>
                </c:pt>
                <c:pt idx="1">
                  <c:v>0.25870665070276555</c:v>
                </c:pt>
                <c:pt idx="2">
                  <c:v>0.302110098340299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9595298951776874</c:v>
                </c:pt>
                <c:pt idx="1">
                  <c:v>0.21010960640714466</c:v>
                </c:pt>
                <c:pt idx="2">
                  <c:v>0.213375824106439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06783256404569264</c:v>
                </c:pt>
                <c:pt idx="2">
                  <c:v>0.007894233754207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656652047038546</c:v>
                </c:pt>
                <c:pt idx="1">
                  <c:v>0.32940854856165336</c:v>
                </c:pt>
                <c:pt idx="2">
                  <c:v>0.28124278463796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51701696814564</c:v>
                </c:pt>
                <c:pt idx="1">
                  <c:v>0.1699912267909574</c:v>
                </c:pt>
                <c:pt idx="2">
                  <c:v>0.154204461799749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379669572380722</c:v>
                </c:pt>
                <c:pt idx="1">
                  <c:v>0.09396725200413862</c:v>
                </c:pt>
                <c:pt idx="2">
                  <c:v>0.11252766984735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663909745010902</c:v>
                </c:pt>
                <c:pt idx="1">
                  <c:v>0.08867282946370339</c:v>
                </c:pt>
                <c:pt idx="2">
                  <c:v>0.091183748191078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594547494804859</c:v>
                </c:pt>
                <c:pt idx="1">
                  <c:v>0.08820973165579811</c:v>
                </c:pt>
                <c:pt idx="2">
                  <c:v>0.092325134375905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924437679040072</c:v>
                </c:pt>
                <c:pt idx="1">
                  <c:v>0.05381189476503361</c:v>
                </c:pt>
                <c:pt idx="2">
                  <c:v>0.0494506521045343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4217512787815455e-07</c:v>
                </c:pt>
                <c:pt idx="1">
                  <c:v>0.08246966341365577</c:v>
                </c:pt>
                <c:pt idx="2">
                  <c:v>0.114080401410855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241401136169456</c:v>
                </c:pt>
                <c:pt idx="1">
                  <c:v>0.05167551016891479</c:v>
                </c:pt>
                <c:pt idx="2">
                  <c:v>0.05904543769131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3928329530215125</c:v>
                </c:pt>
                <c:pt idx="1">
                  <c:v>0.008825653503151142</c:v>
                </c:pt>
                <c:pt idx="2">
                  <c:v>0.0004434827327080790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0940116096818905</c:v>
                </c:pt>
                <c:pt idx="1">
                  <c:v>0.03296768967299381</c:v>
                </c:pt>
                <c:pt idx="2">
                  <c:v>0.0454962272085424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610121897430272</c:v>
                </c:pt>
                <c:pt idx="1">
                  <c:v>0.2847686512341246</c:v>
                </c:pt>
                <c:pt idx="2">
                  <c:v>0.245885691035441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37385339773493</c:v>
                </c:pt>
                <c:pt idx="1">
                  <c:v>0.15565994338170225</c:v>
                </c:pt>
                <c:pt idx="2">
                  <c:v>0.145398998159610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088967231422125</c:v>
                </c:pt>
                <c:pt idx="1">
                  <c:v>0.055185226614762516</c:v>
                </c:pt>
                <c:pt idx="2">
                  <c:v>0.063600643462843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981379578000706</c:v>
                </c:pt>
                <c:pt idx="1">
                  <c:v>0.14297469709401914</c:v>
                </c:pt>
                <c:pt idx="2">
                  <c:v>0.14927012236033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749832246755805</c:v>
                </c:pt>
                <c:pt idx="1">
                  <c:v>0.15802959263228164</c:v>
                </c:pt>
                <c:pt idx="2">
                  <c:v>0.1611294551314006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514719622968658</c:v>
                </c:pt>
                <c:pt idx="1">
                  <c:v>0.06127949292550744</c:v>
                </c:pt>
                <c:pt idx="2">
                  <c:v>0.0569339588323897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5048508113478392e-07</c:v>
                </c:pt>
                <c:pt idx="1">
                  <c:v>0.08294397497869258</c:v>
                </c:pt>
                <c:pt idx="2">
                  <c:v>0.116886372761150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337906123493776</c:v>
                </c:pt>
                <c:pt idx="1">
                  <c:v>0.023850345776400453</c:v>
                </c:pt>
                <c:pt idx="2">
                  <c:v>0.0273979364998100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184964674379629</c:v>
                </c:pt>
                <c:pt idx="1">
                  <c:v>0.007144322236997137</c:v>
                </c:pt>
                <c:pt idx="2">
                  <c:v>0.000307072971596558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4736286181692373</c:v>
                </c:pt>
                <c:pt idx="1">
                  <c:v>0.028163753125512274</c:v>
                </c:pt>
                <c:pt idx="2">
                  <c:v>0.033189748785423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5377750855718935</c:v>
                </c:pt>
                <c:pt idx="1">
                  <c:v>0.4661762075385936</c:v>
                </c:pt>
                <c:pt idx="2">
                  <c:v>0.499318112834902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158740337531726</c:v>
                </c:pt>
                <c:pt idx="1">
                  <c:v>0.4331410395053133</c:v>
                </c:pt>
                <c:pt idx="2">
                  <c:v>0.416376945549186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382685227101415</c:v>
                </c:pt>
                <c:pt idx="1">
                  <c:v>0.09991938877112276</c:v>
                </c:pt>
                <c:pt idx="2">
                  <c:v>0.083725451776429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8080564117588263</c:v>
                </c:pt>
                <c:pt idx="1">
                  <c:v>0.0007630736286148615</c:v>
                </c:pt>
                <c:pt idx="2">
                  <c:v>0.000579489839481362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793847204543858e-07</c:v>
                </c:pt>
                <c:pt idx="1">
                  <c:v>2.905563554935218e-07</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523659213739577</c:v>
                </c:pt>
                <c:pt idx="1">
                  <c:v>0.1640681637707516</c:v>
                </c:pt>
                <c:pt idx="2">
                  <c:v>0.17350786739311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118216351271164</c:v>
                </c:pt>
                <c:pt idx="1">
                  <c:v>0.643690898706955</c:v>
                </c:pt>
                <c:pt idx="2">
                  <c:v>0.66409372290935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506701655762097</c:v>
                </c:pt>
                <c:pt idx="1">
                  <c:v>0.19160660689558925</c:v>
                </c:pt>
                <c:pt idx="2">
                  <c:v>0.1619370832754940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7448990612679138</c:v>
                </c:pt>
                <c:pt idx="1">
                  <c:v>0.0006338003412106411</c:v>
                </c:pt>
                <c:pt idx="2">
                  <c:v>0.000461326422042165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278800369389334e-07</c:v>
                </c:pt>
                <c:pt idx="1">
                  <c:v>5.302854935443512e-07</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Universal Razor Ind</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4866084745982542</c:v>
                </c:pt>
                <c:pt idx="1">
                  <c:v>0.1416622384916652</c:v>
                </c:pt>
                <c:pt idx="2">
                  <c:v>0.01171235174550549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11867550356026511</c:v>
                </c:pt>
                <c:pt idx="1">
                  <c:v>0.030741374899136014</c:v>
                </c:pt>
                <c:pt idx="2">
                  <c:v>0.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4%</a:t>
                    </a:r>
                  </a:p>
                </c:rich>
              </c:tx>
              <c:showLegendKey val="0"/>
              <c:showVal val="1"/>
              <c:showCatName val="0"/>
              <c:showSerName val="0"/>
              <c:showPercent val="0"/>
              <c:showBubbleSize val="0"/>
            </c:dLbl>
            <c:dLbl>
              <c:idx val="1"/>
              <c:tx>
                <c:rich>
                  <a:bodyPr/>
                  <a:lstStyle/>
                  <a:p>
                    <a:r>
                      <a:rPr sz="800">
                        <a:solidFill>
                          <a:srgbClr val="FFFFFF"/>
                        </a:solidFill>
                        <a:latin typeface="Nexa Book"/>
                      </a:rPr>
                      <a:t>83%</a:t>
                    </a:r>
                  </a:p>
                </c:rich>
              </c:tx>
              <c:showLegendKey val="0"/>
              <c:showVal val="1"/>
              <c:showCatName val="0"/>
              <c:showSerName val="0"/>
              <c:showPercent val="0"/>
              <c:showBubbleSize val="0"/>
            </c:dLbl>
            <c:dLbl>
              <c:idx val="2"/>
              <c:tx>
                <c:rich>
                  <a:bodyPr/>
                  <a:lstStyle/>
                  <a:p>
                    <a:r>
                      <a:rPr sz="800">
                        <a:solidFill>
                          <a:srgbClr val="FFFFFF"/>
                        </a:solidFill>
                        <a:latin typeface="Nexa Book"/>
                      </a:rPr>
                      <a:t>9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394716021841481</c:v>
                </c:pt>
                <c:pt idx="1">
                  <c:v>0.8275963866091988</c:v>
                </c:pt>
                <c:pt idx="2">
                  <c:v>0.98828764825449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Universal Razor Ind</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43926745050045894</c:v>
                </c:pt>
                <c:pt idx="1">
                  <c:v>0.02826058967426291</c:v>
                </c:pt>
                <c:pt idx="2">
                  <c:v>0.00193886588314144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5875256785698676</c:v>
                </c:pt>
                <c:pt idx="1">
                  <c:v>0.06823741470323162</c:v>
                </c:pt>
                <c:pt idx="2">
                  <c:v>0.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301979981642554</c:v>
                </c:pt>
                <c:pt idx="1">
                  <c:v>0.9035019956225054</c:v>
                </c:pt>
                <c:pt idx="2">
                  <c:v>0.99806113411685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244397369975174</c:v>
                </c:pt>
                <c:pt idx="1">
                  <c:v>0.35400020293519097</c:v>
                </c:pt>
                <c:pt idx="2">
                  <c:v>0.397263802849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0099091147573185</c:v>
                </c:pt>
                <c:pt idx="1">
                  <c:v>0.39809324662669093</c:v>
                </c:pt>
                <c:pt idx="2">
                  <c:v>0.276881241240280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614552493884339</c:v>
                </c:pt>
                <c:pt idx="1">
                  <c:v>0.11980740975839128</c:v>
                </c:pt>
                <c:pt idx="2">
                  <c:v>0.2035492170158995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122479591849921</c:v>
                </c:pt>
                <c:pt idx="1">
                  <c:v>0.04141559717448337</c:v>
                </c:pt>
                <c:pt idx="2">
                  <c:v>0.02940404480500839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7060932397558647</c:v>
                </c:pt>
                <c:pt idx="1">
                  <c:v>0.024740856366966005</c:v>
                </c:pt>
                <c:pt idx="2">
                  <c:v>0.01515625302952097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213386156961514</c:v>
                </c:pt>
                <c:pt idx="1">
                  <c:v>0.06194268713827744</c:v>
                </c:pt>
                <c:pt idx="2">
                  <c:v>0.0777454410593908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51629314405783</c:v>
                </c:pt>
                <c:pt idx="1">
                  <c:v>0.2708097023565941</c:v>
                </c:pt>
                <c:pt idx="2">
                  <c:v>0.3173139091537952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0489010249885954</c:v>
                </c:pt>
                <c:pt idx="1">
                  <c:v>0.44318495197304153</c:v>
                </c:pt>
                <c:pt idx="2">
                  <c:v>0.311794740456453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892521390537581</c:v>
                </c:pt>
                <c:pt idx="1">
                  <c:v>0.12019557411214836</c:v>
                </c:pt>
                <c:pt idx="2">
                  <c:v>0.23486961619920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400374474016398</c:v>
                </c:pt>
                <c:pt idx="1">
                  <c:v>0.07147432712784142</c:v>
                </c:pt>
                <c:pt idx="2">
                  <c:v>0.0474292967146370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442515210524984</c:v>
                </c:pt>
                <c:pt idx="1">
                  <c:v>0.048801603494537306</c:v>
                </c:pt>
                <c:pt idx="2">
                  <c:v>0.03032090321430499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6259285530977252</c:v>
                </c:pt>
                <c:pt idx="1">
                  <c:v>0.04553384093583729</c:v>
                </c:pt>
                <c:pt idx="2">
                  <c:v>0.0582715342616062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6252438696861745</c:v>
                </c:pt>
                <c:pt idx="1">
                  <c:v>0.12246732371727084</c:v>
                </c:pt>
                <c:pt idx="2">
                  <c:v>0.112236330627354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8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374756130313825</c:v>
                </c:pt>
                <c:pt idx="1">
                  <c:v>0.8775326762827291</c:v>
                </c:pt>
                <c:pt idx="2">
                  <c:v>0.88776366937264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49954779496991286</c:v>
                </c:pt>
                <c:pt idx="1">
                  <c:v>0.08872113421332643</c:v>
                </c:pt>
                <c:pt idx="2">
                  <c:v>0.069210180102526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500452205030088</c:v>
                </c:pt>
                <c:pt idx="1">
                  <c:v>0.9112788657866736</c:v>
                </c:pt>
                <c:pt idx="2">
                  <c:v>0.930789819897473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36183</c:v>
                </c:pt>
                <c:pt idx="1">
                  <c:v>0.012511</c:v>
                </c:pt>
                <c:pt idx="2">
                  <c:v>4.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8e-05</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86063172205</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93682779519449e-06</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68338923192</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1661076807613627e-06</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99954</c:v>
                </c:pt>
                <c:pt idx="1">
                  <c:v>0.028349</c:v>
                </c:pt>
                <c:pt idx="2">
                  <c:v>4.3e-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e-06</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4%</a:t>
                    </a:r>
                  </a:p>
                </c:rich>
              </c:tx>
              <c:showLegendKey val="0"/>
              <c:showVal val="1"/>
              <c:showCatName val="0"/>
              <c:showSerName val="0"/>
              <c:showPercent val="0"/>
              <c:showBubbleSize val="0"/>
            </c:dLbl>
            <c:dLbl>
              <c:idx val="1"/>
              <c:tx>
                <c:rich>
                  <a:bodyPr/>
                  <a:lstStyle/>
                  <a:p>
                    <a:r>
                      <a:rPr sz="800">
                        <a:solidFill>
                          <a:srgbClr val="FFFFFF"/>
                        </a:solidFill>
                        <a:latin typeface="Nexa Book"/>
                      </a:rPr>
                      <a:t>72%</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402115661432366</c:v>
                </c:pt>
                <c:pt idx="1">
                  <c:v>0.7194210498802533</c:v>
                </c:pt>
                <c:pt idx="2">
                  <c:v>0.670217271668058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38689322611878</c:v>
                </c:pt>
                <c:pt idx="1">
                  <c:v>0.12176756574641985</c:v>
                </c:pt>
                <c:pt idx="2">
                  <c:v>0.10792150332536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50471407128871</c:v>
                </c:pt>
                <c:pt idx="1">
                  <c:v>0.10105576308773594</c:v>
                </c:pt>
                <c:pt idx="2">
                  <c:v>0.147969363482509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7273654291641523</c:v>
                </c:pt>
                <c:pt idx="1">
                  <c:v>0.05447225992135005</c:v>
                </c:pt>
                <c:pt idx="2">
                  <c:v>0.070989411829580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35987065910470448</c:v>
                </c:pt>
                <c:pt idx="1">
                  <c:v>0.0032833613642408326</c:v>
                </c:pt>
                <c:pt idx="2">
                  <c:v>0.00290244969448995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12879600672876</c:v>
                </c:pt>
                <c:pt idx="1">
                  <c:v>0.44961778175330913</c:v>
                </c:pt>
                <c:pt idx="2">
                  <c:v>0.4140551873443271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71978464721327</c:v>
                </c:pt>
                <c:pt idx="1">
                  <c:v>0.37693082199220096</c:v>
                </c:pt>
                <c:pt idx="2">
                  <c:v>0.32312780169714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373124436102763</c:v>
                </c:pt>
                <c:pt idx="1">
                  <c:v>0.12352089641831426</c:v>
                </c:pt>
                <c:pt idx="2">
                  <c:v>0.199021212186942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2504360204410588</c:v>
                </c:pt>
                <c:pt idx="1">
                  <c:v>0.045522900356729436</c:v>
                </c:pt>
                <c:pt idx="2">
                  <c:v>0.05925541124586783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278588895141478</c:v>
                </c:pt>
                <c:pt idx="1">
                  <c:v>0.004407599479446235</c:v>
                </c:pt>
                <c:pt idx="2">
                  <c:v>0.0045403875257127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87955126825</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44873175013512e-05</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643915857317</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5608414268291595e-05</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596619852116714</c:v>
                </c:pt>
                <c:pt idx="1">
                  <c:v>0.6284976377961539</c:v>
                </c:pt>
                <c:pt idx="2">
                  <c:v>0.653583583638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39217518886895</c:v>
                </c:pt>
                <c:pt idx="1">
                  <c:v>0.283790940816102</c:v>
                </c:pt>
                <c:pt idx="2">
                  <c:v>0.259488821923970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396606161150228</c:v>
                </c:pt>
                <c:pt idx="1">
                  <c:v>0.08250178249529752</c:v>
                </c:pt>
                <c:pt idx="2">
                  <c:v>0.0843888145823652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2450201288136762</c:v>
                </c:pt>
                <c:pt idx="1">
                  <c:v>0.005209638892446628</c:v>
                </c:pt>
                <c:pt idx="2">
                  <c:v>0.00253877985551275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012673</c:v>
                </c:pt>
                <c:pt idx="1">
                  <c:v>1.868437</c:v>
                </c:pt>
                <c:pt idx="2">
                  <c:v>1.2846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98108</c:v>
                </c:pt>
                <c:pt idx="1">
                  <c:v>2.059107</c:v>
                </c:pt>
                <c:pt idx="2">
                  <c:v>1.24063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68383</c:v>
                </c:pt>
                <c:pt idx="1">
                  <c:v>0.441442</c:v>
                </c:pt>
                <c:pt idx="2">
                  <c:v>0.33344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2348</c:v>
                </c:pt>
                <c:pt idx="1">
                  <c:v>0.053571</c:v>
                </c:pt>
                <c:pt idx="2">
                  <c:v>0.0228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920548828949016</c:v>
                </c:pt>
                <c:pt idx="1">
                  <c:v>0.5681538130749676</c:v>
                </c:pt>
                <c:pt idx="2">
                  <c:v>0.60816575089738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224452213374675</c:v>
                </c:pt>
                <c:pt idx="1">
                  <c:v>0.34020084652956345</c:v>
                </c:pt>
                <c:pt idx="2">
                  <c:v>0.29579846800876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860018029589258</c:v>
                </c:pt>
                <c:pt idx="1">
                  <c:v>0.08373227652395847</c:v>
                </c:pt>
                <c:pt idx="2">
                  <c:v>0.091675268880251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689971547173838</c:v>
                </c:pt>
                <c:pt idx="1">
                  <c:v>0.007913063871510462</c:v>
                </c:pt>
                <c:pt idx="2">
                  <c:v>0.00436051221360029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7067516705153</c:v>
                </c:pt>
                <c:pt idx="1">
                  <c:v>0.37882877205251536</c:v>
                </c:pt>
                <c:pt idx="2">
                  <c:v>0.394031880304940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70167389528243</c:v>
                </c:pt>
                <c:pt idx="1">
                  <c:v>0.1433300670469654</c:v>
                </c:pt>
                <c:pt idx="2">
                  <c:v>0.132085508512114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313979145777094</c:v>
                </c:pt>
                <c:pt idx="1">
                  <c:v>0.15834029282731646</c:v>
                </c:pt>
                <c:pt idx="2">
                  <c:v>0.1049351526226782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936625139704425</c:v>
                </c:pt>
                <c:pt idx="1">
                  <c:v>0.17857961268078082</c:v>
                </c:pt>
                <c:pt idx="2">
                  <c:v>0.090297417402984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09357393692178</c:v>
                </c:pt>
                <c:pt idx="1">
                  <c:v>0.05342695784051035</c:v>
                </c:pt>
                <c:pt idx="2">
                  <c:v>0.0440360498334878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667533450379023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9875948947863116</c:v>
                </c:pt>
                <c:pt idx="1">
                  <c:v>0.02667989444880401</c:v>
                </c:pt>
                <c:pt idx="2">
                  <c:v>0.013914568601746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6003607193592423</c:v>
                </c:pt>
                <c:pt idx="1">
                  <c:v>0.0018961808844995059</c:v>
                </c:pt>
                <c:pt idx="2">
                  <c:v>8.966728058864777e-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5998855291544387</c:v>
                </c:pt>
                <c:pt idx="1">
                  <c:v>0.02672266789186288</c:v>
                </c:pt>
                <c:pt idx="2">
                  <c:v>0.0230644420812134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4804221137343921</c:v>
                </c:pt>
                <c:pt idx="1">
                  <c:v>0.032195554326745195</c:v>
                </c:pt>
                <c:pt idx="2">
                  <c:v>0.03087266887487289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691026677763543</c:v>
                </c:pt>
                <c:pt idx="1">
                  <c:v>0.3107654850595872</c:v>
                </c:pt>
                <c:pt idx="2">
                  <c:v>0.311255576676070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434133922018843</c:v>
                </c:pt>
                <c:pt idx="1">
                  <c:v>0.23648587285827552</c:v>
                </c:pt>
                <c:pt idx="2">
                  <c:v>0.2032490108765230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585287584284143</c:v>
                </c:pt>
                <c:pt idx="1">
                  <c:v>0.018246558903992172</c:v>
                </c:pt>
                <c:pt idx="2">
                  <c:v>0.01680498822256219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630529010272484</c:v>
                </c:pt>
                <c:pt idx="1">
                  <c:v>0.14584593971589593</c:v>
                </c:pt>
                <c:pt idx="2">
                  <c:v>0.080856398935079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144454216519003</c:v>
                </c:pt>
                <c:pt idx="1">
                  <c:v>0.08345518794522001</c:v>
                </c:pt>
                <c:pt idx="2">
                  <c:v>0.0609330743087292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562487361393712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6582672734534709</c:v>
                </c:pt>
                <c:pt idx="1">
                  <c:v>0.04677125244772157</c:v>
                </c:pt>
                <c:pt idx="2">
                  <c:v>0.0241036526095148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1847099169504831</c:v>
                </c:pt>
                <c:pt idx="1">
                  <c:v>0.007023519555751929</c:v>
                </c:pt>
                <c:pt idx="2">
                  <c:v>7.461135849851265e-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4948303102207375</c:v>
                </c:pt>
                <c:pt idx="1">
                  <c:v>0.019612895194149348</c:v>
                </c:pt>
                <c:pt idx="2">
                  <c:v>0.0167045766746763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8353136540803658</c:v>
                </c:pt>
                <c:pt idx="1">
                  <c:v>0.13179328831940637</c:v>
                </c:pt>
                <c:pt idx="2">
                  <c:v>0.129769374198973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71214917828043</c:v>
                </c:pt>
                <c:pt idx="1">
                  <c:v>0.5243936679514245</c:v>
                </c:pt>
                <c:pt idx="2">
                  <c:v>0.57546195657149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578850964650301</c:v>
                </c:pt>
                <c:pt idx="1">
                  <c:v>0.4746062850002916</c:v>
                </c:pt>
                <c:pt idx="2">
                  <c:v>0.404326919623282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4919028308873972</c:v>
                </c:pt>
                <c:pt idx="1">
                  <c:v>0.0009352743532866478</c:v>
                </c:pt>
                <c:pt idx="2">
                  <c:v>0.0201504155697045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438344329162648e-05</c:v>
                </c:pt>
                <c:pt idx="1">
                  <c:v>6.477269499724973e-05</c:v>
                </c:pt>
                <c:pt idx="2">
                  <c:v>6.0708235515839004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93540398995179</c:v>
                </c:pt>
                <c:pt idx="1">
                  <c:v>0.5755831845647962</c:v>
                </c:pt>
                <c:pt idx="2">
                  <c:v>0.64285841171918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137758010621974</c:v>
                </c:pt>
                <c:pt idx="1">
                  <c:v>0.4231790712259041</c:v>
                </c:pt>
                <c:pt idx="2">
                  <c:v>0.3477157002026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9135716981428925</c:v>
                </c:pt>
                <c:pt idx="1">
                  <c:v>0.0011323443153384463</c:v>
                </c:pt>
                <c:pt idx="2">
                  <c:v>0.0093489104476864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3266301283334982</c:v>
                </c:pt>
                <c:pt idx="1">
                  <c:v>0.0001053998939613188</c:v>
                </c:pt>
                <c:pt idx="2">
                  <c:v>7.697763048277728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87952601592</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47398408122487e-06</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71819581446</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8180418554363315e-06</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6.5</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476112</c:v>
                </c:pt>
                <c:pt idx="1">
                  <c:v>15.824938</c:v>
                </c:pt>
                <c:pt idx="2">
                  <c:v>9.662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092362</c:v>
                </c:pt>
                <c:pt idx="1">
                  <c:v>11.278346</c:v>
                </c:pt>
                <c:pt idx="2">
                  <c:v>6.5086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720385</c:v>
                </c:pt>
                <c:pt idx="1">
                  <c:v>2.597907</c:v>
                </c:pt>
                <c:pt idx="2">
                  <c:v>1.81743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2615</c:v>
                </c:pt>
                <c:pt idx="1">
                  <c:v>0.108264</c:v>
                </c:pt>
                <c:pt idx="2">
                  <c:v>0.078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496426162756596</c:v>
                </c:pt>
                <c:pt idx="1">
                  <c:v>0.3646942825321667</c:v>
                </c:pt>
                <c:pt idx="2">
                  <c:v>0.44733282766381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80765056990032</c:v>
                </c:pt>
                <c:pt idx="1">
                  <c:v>0.4029903880848358</c:v>
                </c:pt>
                <c:pt idx="2">
                  <c:v>0.33635602625910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569561758855592</c:v>
                </c:pt>
                <c:pt idx="1">
                  <c:v>0.23231178749022427</c:v>
                </c:pt>
                <c:pt idx="2">
                  <c:v>0.2163102515933929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0567878716640466e-06</c:v>
                </c:pt>
                <c:pt idx="1">
                  <c:v>3.5418927732830884e-06</c:v>
                </c:pt>
                <c:pt idx="2">
                  <c:v>8.944836815674589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633511613120967</c:v>
                </c:pt>
                <c:pt idx="1">
                  <c:v>0.3447256778485461</c:v>
                </c:pt>
                <c:pt idx="2">
                  <c:v>0.41034828361258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853166828460994</c:v>
                </c:pt>
                <c:pt idx="1">
                  <c:v>0.31070059128924604</c:v>
                </c:pt>
                <c:pt idx="2">
                  <c:v>0.257508071761091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7512476456550353</c:v>
                </c:pt>
                <c:pt idx="1">
                  <c:v>0.34456213320381635</c:v>
                </c:pt>
                <c:pt idx="2">
                  <c:v>0.332140978955909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8.451018676828104e-06</c:v>
                </c:pt>
                <c:pt idx="1">
                  <c:v>1.1597658391560791e-05</c:v>
                </c:pt>
                <c:pt idx="2">
                  <c:v>2.6656704167762367e-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012592147120888</c:v>
                </c:pt>
                <c:pt idx="1">
                  <c:v>0.5225667703217182</c:v>
                </c:pt>
                <c:pt idx="2">
                  <c:v>0.56281458899581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806465651888418</c:v>
                </c:pt>
                <c:pt idx="1">
                  <c:v>0.45295515752696297</c:v>
                </c:pt>
                <c:pt idx="2">
                  <c:v>0.4118758723279218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808563493058551</c:v>
                </c:pt>
                <c:pt idx="1">
                  <c:v>0.02447175428958655</c:v>
                </c:pt>
                <c:pt idx="2">
                  <c:v>0.025287225446264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8.585168483931498e-06</c:v>
                </c:pt>
                <c:pt idx="1">
                  <c:v>6.317861732332415e-06</c:v>
                </c:pt>
                <c:pt idx="2">
                  <c:v>2.231323000073459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754624152099764</c:v>
                </c:pt>
                <c:pt idx="1">
                  <c:v>0.6218074267943642</c:v>
                </c:pt>
                <c:pt idx="2">
                  <c:v>0.65410564628630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53005474298004</c:v>
                </c:pt>
                <c:pt idx="1">
                  <c:v>0.3529874631596166</c:v>
                </c:pt>
                <c:pt idx="2">
                  <c:v>0.32446725579687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923040729153567</c:v>
                </c:pt>
                <c:pt idx="1">
                  <c:v>0.02519603291594294</c:v>
                </c:pt>
                <c:pt idx="2">
                  <c:v>0.02140258801833612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630068687511603e-06</c:v>
                </c:pt>
                <c:pt idx="1">
                  <c:v>9.077130076219527e-06</c:v>
                </c:pt>
                <c:pt idx="2">
                  <c:v>2.450989848136215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7067516705153</c:v>
                </c:pt>
                <c:pt idx="1">
                  <c:v>0.37882877205251536</c:v>
                </c:pt>
                <c:pt idx="2">
                  <c:v>0.394031880304940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70167389528243</c:v>
                </c:pt>
                <c:pt idx="1">
                  <c:v>0.1433300670469654</c:v>
                </c:pt>
                <c:pt idx="2">
                  <c:v>0.1320855085121149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313979145777094</c:v>
                </c:pt>
                <c:pt idx="1">
                  <c:v>0.15834029282731646</c:v>
                </c:pt>
                <c:pt idx="2">
                  <c:v>0.1049351526226782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936625139704425</c:v>
                </c:pt>
                <c:pt idx="1">
                  <c:v>0.17857961268078082</c:v>
                </c:pt>
                <c:pt idx="2">
                  <c:v>0.0902974174029844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09357393692178</c:v>
                </c:pt>
                <c:pt idx="1">
                  <c:v>0.05342695784051035</c:v>
                </c:pt>
                <c:pt idx="2">
                  <c:v>0.0440360498334878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667533450379023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9875948947863116</c:v>
                </c:pt>
                <c:pt idx="1">
                  <c:v>0.02667989444880401</c:v>
                </c:pt>
                <c:pt idx="2">
                  <c:v>0.0139145686017463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6003607193592423</c:v>
                </c:pt>
                <c:pt idx="1">
                  <c:v>0.0018961808844995059</c:v>
                </c:pt>
                <c:pt idx="2">
                  <c:v>8.966728058864777e-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5998855291544387</c:v>
                </c:pt>
                <c:pt idx="1">
                  <c:v>0.02672266789186288</c:v>
                </c:pt>
                <c:pt idx="2">
                  <c:v>0.0230644420812134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4804221137343921</c:v>
                </c:pt>
                <c:pt idx="1">
                  <c:v>0.032195554326745195</c:v>
                </c:pt>
                <c:pt idx="2">
                  <c:v>0.03087266887487289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691026677763543</c:v>
                </c:pt>
                <c:pt idx="1">
                  <c:v>0.3107654850595872</c:v>
                </c:pt>
                <c:pt idx="2">
                  <c:v>0.3112555766760709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434133922018843</c:v>
                </c:pt>
                <c:pt idx="1">
                  <c:v>0.23648587285827552</c:v>
                </c:pt>
                <c:pt idx="2">
                  <c:v>0.2032490108765230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585287584284143</c:v>
                </c:pt>
                <c:pt idx="1">
                  <c:v>0.018246558903992172</c:v>
                </c:pt>
                <c:pt idx="2">
                  <c:v>0.01680498822256219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630529010272484</c:v>
                </c:pt>
                <c:pt idx="1">
                  <c:v>0.14584593971589593</c:v>
                </c:pt>
                <c:pt idx="2">
                  <c:v>0.080856398935079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144454216519003</c:v>
                </c:pt>
                <c:pt idx="1">
                  <c:v>0.08345518794522001</c:v>
                </c:pt>
                <c:pt idx="2">
                  <c:v>0.0609330743087292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562487361393712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6582672734534709</c:v>
                </c:pt>
                <c:pt idx="1">
                  <c:v>0.04677125244772157</c:v>
                </c:pt>
                <c:pt idx="2">
                  <c:v>0.0241036526095148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1847099169504831</c:v>
                </c:pt>
                <c:pt idx="1">
                  <c:v>0.007023519555751929</c:v>
                </c:pt>
                <c:pt idx="2">
                  <c:v>7.461135849851265e-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4948303102207375</c:v>
                </c:pt>
                <c:pt idx="1">
                  <c:v>0.019612895194149348</c:v>
                </c:pt>
                <c:pt idx="2">
                  <c:v>0.0167045766746763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8353136540803658</c:v>
                </c:pt>
                <c:pt idx="1">
                  <c:v>0.13179328831940637</c:v>
                </c:pt>
                <c:pt idx="2">
                  <c:v>0.129769374198973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5111473958252</c:v>
                </c:pt>
                <c:pt idx="1">
                  <c:v>0.4722047897483143</c:v>
                </c:pt>
                <c:pt idx="2">
                  <c:v>0.38334238931861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0878720811338718</c:v>
                </c:pt>
                <c:pt idx="1">
                  <c:v>0.11039296897946999</c:v>
                </c:pt>
                <c:pt idx="2">
                  <c:v>0.105954304294128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241136044877701</c:v>
                </c:pt>
                <c:pt idx="1">
                  <c:v>0.0931265940013386</c:v>
                </c:pt>
                <c:pt idx="2">
                  <c:v>0.1180825717744111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899030451814337</c:v>
                </c:pt>
                <c:pt idx="1">
                  <c:v>0.05355744182948419</c:v>
                </c:pt>
                <c:pt idx="2">
                  <c:v>0.0633234043076584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210281965805518</c:v>
                </c:pt>
                <c:pt idx="1">
                  <c:v>0.06640575469593396</c:v>
                </c:pt>
                <c:pt idx="2">
                  <c:v>0.0792501210077394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881290774941348</c:v>
                </c:pt>
                <c:pt idx="1">
                  <c:v>0.051904656048818776</c:v>
                </c:pt>
                <c:pt idx="2">
                  <c:v>0.08784763949895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15187374209794</c:v>
                </c:pt>
                <c:pt idx="1">
                  <c:v>0.040273963588154195</c:v>
                </c:pt>
                <c:pt idx="2">
                  <c:v>0.05208867678670007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Procter &amp; Gamb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8232995517464427</c:v>
                </c:pt>
                <c:pt idx="1">
                  <c:v>0.049221035922309836</c:v>
                </c:pt>
                <c:pt idx="2">
                  <c:v>0.01674030834725495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3323568027041646</c:v>
                </c:pt>
                <c:pt idx="2">
                  <c:v>0.0625007687337706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8439905629440939</c:v>
                </c:pt>
                <c:pt idx="1">
                  <c:v>0.029677114915759688</c:v>
                </c:pt>
                <c:pt idx="2">
                  <c:v>0.0308698159307683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4873877268553604</c:v>
                </c:pt>
                <c:pt idx="1">
                  <c:v>0.2972092351571385</c:v>
                </c:pt>
                <c:pt idx="2">
                  <c:v>0.2244512290241347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0752584901210477</c:v>
                </c:pt>
                <c:pt idx="1">
                  <c:v>0.11483925122299042</c:v>
                </c:pt>
                <c:pt idx="2">
                  <c:v>0.103924408887304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092009664600862</c:v>
                </c:pt>
                <c:pt idx="1">
                  <c:v>0.16966021024002503</c:v>
                </c:pt>
                <c:pt idx="2">
                  <c:v>0.199465157221491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170397648213331</c:v>
                </c:pt>
                <c:pt idx="1">
                  <c:v>0.06795757592168047</c:v>
                </c:pt>
                <c:pt idx="2">
                  <c:v>0.075522347195736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172256523198953</c:v>
                </c:pt>
                <c:pt idx="1">
                  <c:v>0.13379936338309537</c:v>
                </c:pt>
                <c:pt idx="2">
                  <c:v>0.1454110171245196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910104805695283</c:v>
                </c:pt>
                <c:pt idx="1">
                  <c:v>0.03408126793869704</c:v>
                </c:pt>
                <c:pt idx="2">
                  <c:v>0.05148052758419794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7863815720428301</c:v>
                </c:pt>
                <c:pt idx="1">
                  <c:v>0.09623565656383318</c:v>
                </c:pt>
                <c:pt idx="2">
                  <c:v>0.1105214398731658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Procter &amp; Gamb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4054283796767649</c:v>
                </c:pt>
                <c:pt idx="1">
                  <c:v>0.0314088909748422</c:v>
                </c:pt>
                <c:pt idx="2">
                  <c:v>0.0077615874643040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3743621796607518</c:v>
                </c:pt>
                <c:pt idx="2">
                  <c:v>0.0662460085765859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7759525088422423</c:v>
                </c:pt>
                <c:pt idx="1">
                  <c:v>0.017372330631622652</c:v>
                </c:pt>
                <c:pt idx="2">
                  <c:v>0.01521627704855926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9030709541768044</c:v>
                </c:pt>
                <c:pt idx="1">
                  <c:v>0.3689199966992737</c:v>
                </c:pt>
                <c:pt idx="2">
                  <c:v>0.451738222270953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550868733035471</c:v>
                </c:pt>
                <c:pt idx="1">
                  <c:v>0.39578080769338375</c:v>
                </c:pt>
                <c:pt idx="2">
                  <c:v>0.33132758350797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5460328137204014</c:v>
                </c:pt>
                <c:pt idx="1">
                  <c:v>0.23529813314180623</c:v>
                </c:pt>
                <c:pt idx="2">
                  <c:v>0.2169341942210738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49906732329995e-06</c:v>
                </c:pt>
                <c:pt idx="1">
                  <c:v>1.0624655362741671e-06</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913155730929372</c:v>
                </c:pt>
                <c:pt idx="1">
                  <c:v>0.36731633925449325</c:v>
                </c:pt>
                <c:pt idx="2">
                  <c:v>0.43138118268840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453449831654245</c:v>
                </c:pt>
                <c:pt idx="1">
                  <c:v>0.2957579772305131</c:v>
                </c:pt>
                <c:pt idx="2">
                  <c:v>0.248040839997803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6414610503347616</c:v>
                </c:pt>
                <c:pt idx="1">
                  <c:v>0.336917955876472</c:v>
                </c:pt>
                <c:pt idx="2">
                  <c:v>0.320577977313791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8235570441937644e-06</c:v>
                </c:pt>
                <c:pt idx="1">
                  <c:v>7.727638521676992e-06</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12989</c:v>
                </c:pt>
                <c:pt idx="1">
                  <c:v>0.384577</c:v>
                </c:pt>
                <c:pt idx="2">
                  <c:v>0.0655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62506</c:v>
                </c:pt>
                <c:pt idx="1">
                  <c:v>0.028378</c:v>
                </c:pt>
                <c:pt idx="2">
                  <c:v>0.0041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8e-06</c:v>
                </c:pt>
                <c:pt idx="1">
                  <c:v>8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8851153921881163</c:v>
                </c:pt>
                <c:pt idx="1">
                  <c:v>0.4814388219894618</c:v>
                </c:pt>
                <c:pt idx="2">
                  <c:v>0.492842906679457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494639040942585</c:v>
                </c:pt>
                <c:pt idx="1">
                  <c:v>0.1831015924905629</c:v>
                </c:pt>
                <c:pt idx="2">
                  <c:v>0.1561757680411845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39170861932768</c:v>
                </c:pt>
                <c:pt idx="1">
                  <c:v>0.158628046525931</c:v>
                </c:pt>
                <c:pt idx="2">
                  <c:v>0.15309940497121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949558529981497</c:v>
                </c:pt>
                <c:pt idx="1">
                  <c:v>0.1628992629932301</c:v>
                </c:pt>
                <c:pt idx="2">
                  <c:v>0.1729610856300259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615092850705863</c:v>
                </c:pt>
                <c:pt idx="1">
                  <c:v>0.013223720308753573</c:v>
                </c:pt>
                <c:pt idx="2">
                  <c:v>0.0248732601079135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25143060279648887</c:v>
                </c:pt>
                <c:pt idx="1">
                  <c:v>0.0007085556920606273</c:v>
                </c:pt>
                <c:pt idx="2">
                  <c:v>4.757457020338621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752222476645696</c:v>
                </c:pt>
                <c:pt idx="1">
                  <c:v>0.28126156185758144</c:v>
                </c:pt>
                <c:pt idx="2">
                  <c:v>0.281923989959782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8206015779257174</c:v>
                </c:pt>
                <c:pt idx="1">
                  <c:v>0.39967901630729236</c:v>
                </c:pt>
                <c:pt idx="2">
                  <c:v>0.398161393277824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440702206399174</c:v>
                </c:pt>
                <c:pt idx="1">
                  <c:v>0.07502591541042615</c:v>
                </c:pt>
                <c:pt idx="2">
                  <c:v>0.071756127406289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5700248006146115</c:v>
                </c:pt>
                <c:pt idx="1">
                  <c:v>0.23773124207052118</c:v>
                </c:pt>
                <c:pt idx="2">
                  <c:v>0.2361469246850348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2501728729630545</c:v>
                </c:pt>
                <c:pt idx="1">
                  <c:v>0.005953756325919757</c:v>
                </c:pt>
                <c:pt idx="2">
                  <c:v>0.0119840771677528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0579195444426481</c:v>
                </c:pt>
                <c:pt idx="1">
                  <c:v>0.0003485080282591287</c:v>
                </c:pt>
                <c:pt idx="2">
                  <c:v>2.7487503315950735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15335488201757</c:v>
                </c:pt>
                <c:pt idx="1">
                  <c:v>0.43914028983635994</c:v>
                </c:pt>
                <c:pt idx="2">
                  <c:v>0.378363109215211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156826746511112</c:v>
                </c:pt>
                <c:pt idx="1">
                  <c:v>0.11690852531464963</c:v>
                </c:pt>
                <c:pt idx="2">
                  <c:v>0.13241549117898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639631231593931</c:v>
                </c:pt>
                <c:pt idx="1">
                  <c:v>0.06462435189777849</c:v>
                </c:pt>
                <c:pt idx="2">
                  <c:v>0.096627597542630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584856054337762</c:v>
                </c:pt>
                <c:pt idx="1">
                  <c:v>0.06098320439105404</c:v>
                </c:pt>
                <c:pt idx="2">
                  <c:v>0.078299555430130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061770240927219</c:v>
                </c:pt>
                <c:pt idx="1">
                  <c:v>0.06066471688542982</c:v>
                </c:pt>
                <c:pt idx="2">
                  <c:v>0.0792796646340077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rocter &amp; Gambl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314481264801055</c:v>
                </c:pt>
                <c:pt idx="1">
                  <c:v>0.1193606487591702</c:v>
                </c:pt>
                <c:pt idx="2">
                  <c:v>0.0326912960991489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804059076239492</c:v>
                </c:pt>
                <c:pt idx="1">
                  <c:v>0.03700819965905349</c:v>
                </c:pt>
                <c:pt idx="2">
                  <c:v>0.0424633133900274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7824543041102326e-07</c:v>
                </c:pt>
                <c:pt idx="1">
                  <c:v>0.05671708425719109</c:v>
                </c:pt>
                <c:pt idx="2">
                  <c:v>0.097960929342832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857769415294385</c:v>
                </c:pt>
                <c:pt idx="1">
                  <c:v>0.035538938113313115</c:v>
                </c:pt>
                <c:pt idx="2">
                  <c:v>0.05070236322945654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9190701577579007</c:v>
                </c:pt>
                <c:pt idx="1">
                  <c:v>0.009054040886000234</c:v>
                </c:pt>
                <c:pt idx="2">
                  <c:v>0.0111966799375643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2923</c:v>
                </c:pt>
                <c:pt idx="1">
                  <c:v>0.545221</c:v>
                </c:pt>
                <c:pt idx="2">
                  <c:v>0.1026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3589</c:v>
                </c:pt>
                <c:pt idx="1">
                  <c:v>0.056053</c:v>
                </c:pt>
                <c:pt idx="2">
                  <c:v>0.0035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e-06</c:v>
                </c:pt>
                <c:pt idx="1">
                  <c:v>2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7102308287841376</c:v>
                </c:pt>
                <c:pt idx="1">
                  <c:v>0.3197277457009774</c:v>
                </c:pt>
                <c:pt idx="2">
                  <c:v>0.25466702992111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717928827564096</c:v>
                </c:pt>
                <c:pt idx="1">
                  <c:v>0.13389444310157042</c:v>
                </c:pt>
                <c:pt idx="2">
                  <c:v>0.142671955008342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405136228880684</c:v>
                </c:pt>
                <c:pt idx="1">
                  <c:v>0.047468828681882735</c:v>
                </c:pt>
                <c:pt idx="2">
                  <c:v>0.0624077762397750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909878756685653</c:v>
                </c:pt>
                <c:pt idx="1">
                  <c:v>0.12298293979252291</c:v>
                </c:pt>
                <c:pt idx="2">
                  <c:v>0.146470474013205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82021547872292</c:v>
                </c:pt>
                <c:pt idx="1">
                  <c:v>0.13593275083739143</c:v>
                </c:pt>
                <c:pt idx="2">
                  <c:v>0.1581073780700359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rocter &amp; Gambl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2139368596332536</c:v>
                </c:pt>
                <c:pt idx="1">
                  <c:v>0.07316747303422169</c:v>
                </c:pt>
                <c:pt idx="2">
                  <c:v>0.0144131353709425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188194533349018</c:v>
                </c:pt>
                <c:pt idx="1">
                  <c:v>0.05271095055384644</c:v>
                </c:pt>
                <c:pt idx="2">
                  <c:v>0.0558661291741827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3314881570453e-07</c:v>
                </c:pt>
                <c:pt idx="1">
                  <c:v>0.07134614787292867</c:v>
                </c:pt>
                <c:pt idx="2">
                  <c:v>0.1146941005560500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068573371022437</c:v>
                </c:pt>
                <c:pt idx="1">
                  <c:v>0.020515417750604278</c:v>
                </c:pt>
                <c:pt idx="2">
                  <c:v>0.02688407219512855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1573814341418995</c:v>
                </c:pt>
                <c:pt idx="1">
                  <c:v>0.02225330267405403</c:v>
                </c:pt>
                <c:pt idx="2">
                  <c:v>0.0238179494512263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4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74690486099295</c:v>
                </c:pt>
                <c:pt idx="1">
                  <c:v>0.5210363419414678</c:v>
                </c:pt>
                <c:pt idx="2">
                  <c:v>0.468247250915436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813999613462898</c:v>
                </c:pt>
                <c:pt idx="1">
                  <c:v>0.16419758534428108</c:v>
                </c:pt>
                <c:pt idx="2">
                  <c:v>0.154405563061393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44217757186487</c:v>
                </c:pt>
                <c:pt idx="1">
                  <c:v>0.1730192465130286</c:v>
                </c:pt>
                <c:pt idx="2">
                  <c:v>0.158502575565068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1218495781732154</c:v>
                </c:pt>
                <c:pt idx="1">
                  <c:v>0.12486777156493935</c:v>
                </c:pt>
                <c:pt idx="2">
                  <c:v>0.2045192702641206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680858641666873</c:v>
                </c:pt>
                <c:pt idx="1">
                  <c:v>0.01529579311121487</c:v>
                </c:pt>
                <c:pt idx="2">
                  <c:v>0.01269697273368178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942097338391987</c:v>
                </c:pt>
                <c:pt idx="1">
                  <c:v>0.0015832615250683602</c:v>
                </c:pt>
                <c:pt idx="2">
                  <c:v>0.00162836746029917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59056308344979</c:v>
                </c:pt>
                <c:pt idx="1">
                  <c:v>0.3463967241935663</c:v>
                </c:pt>
                <c:pt idx="2">
                  <c:v>0.311967591341737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854057673201322</c:v>
                </c:pt>
                <c:pt idx="1">
                  <c:v>0.17152674388846234</c:v>
                </c:pt>
                <c:pt idx="2">
                  <c:v>0.171896831891061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5514482466987046</c:v>
                </c:pt>
                <c:pt idx="1">
                  <c:v>0.3396321393998064</c:v>
                </c:pt>
                <c:pt idx="2">
                  <c:v>0.28788761859179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172910205075583</c:v>
                </c:pt>
                <c:pt idx="1">
                  <c:v>0.12062600838980317</c:v>
                </c:pt>
                <c:pt idx="2">
                  <c:v>0.2071759616646467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7675026389852413</c:v>
                </c:pt>
                <c:pt idx="1">
                  <c:v>0.021011672285831916</c:v>
                </c:pt>
                <c:pt idx="2">
                  <c:v>0.0202187434866181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0048393230102156</c:v>
                </c:pt>
                <c:pt idx="1">
                  <c:v>0.0008067118425298483</c:v>
                </c:pt>
                <c:pt idx="2">
                  <c:v>0.00085325302413907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2711410384917253</c:v>
                </c:pt>
                <c:pt idx="1">
                  <c:v>0.4228211983036573</c:v>
                </c:pt>
                <c:pt idx="2">
                  <c:v>0.446047901250410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0479381278939826</c:v>
                </c:pt>
                <c:pt idx="1">
                  <c:v>0.09867016481875411</c:v>
                </c:pt>
                <c:pt idx="2">
                  <c:v>0.0891885403055461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493373648081795</c:v>
                </c:pt>
                <c:pt idx="1">
                  <c:v>0.07983684793498674</c:v>
                </c:pt>
                <c:pt idx="2">
                  <c:v>0.0700178707910852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779638325129797</c:v>
                </c:pt>
                <c:pt idx="1">
                  <c:v>0.07895835847365065</c:v>
                </c:pt>
                <c:pt idx="2">
                  <c:v>0.065413350380722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48129132054852</c:v>
                </c:pt>
                <c:pt idx="1">
                  <c:v>0.06534823551194424</c:v>
                </c:pt>
                <c:pt idx="2">
                  <c:v>0.0673890002402017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804523590630693</c:v>
                </c:pt>
                <c:pt idx="1">
                  <c:v>0.05329984612267465</c:v>
                </c:pt>
                <c:pt idx="2">
                  <c:v>0.05723254985120313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3714025856471612</c:v>
                </c:pt>
                <c:pt idx="1">
                  <c:v>0.04449535903599782</c:v>
                </c:pt>
                <c:pt idx="2">
                  <c:v>0.0575459243094779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32458641876318424</c:v>
                </c:pt>
                <c:pt idx="1">
                  <c:v>0.025185164341670327</c:v>
                </c:pt>
                <c:pt idx="2">
                  <c:v>0.02174034557132825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6848562397963106</c:v>
                </c:pt>
                <c:pt idx="1">
                  <c:v>0.020876373324720508</c:v>
                </c:pt>
                <c:pt idx="2">
                  <c:v>0.0160281014052404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0948258438676801</c:v>
                </c:pt>
                <c:pt idx="1">
                  <c:v>0.11050845213194369</c:v>
                </c:pt>
                <c:pt idx="2">
                  <c:v>0.1093964158947840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58786280987357</c:v>
                </c:pt>
                <c:pt idx="1">
                  <c:v>0.2663112270001013</c:v>
                </c:pt>
                <c:pt idx="2">
                  <c:v>0.283613612705581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793379226081984</c:v>
                </c:pt>
                <c:pt idx="1">
                  <c:v>0.12704674890222933</c:v>
                </c:pt>
                <c:pt idx="2">
                  <c:v>0.114126155107423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1392647713042595</c:v>
                </c:pt>
                <c:pt idx="1">
                  <c:v>0.03989664841160596</c:v>
                </c:pt>
                <c:pt idx="2">
                  <c:v>0.03541570495565756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314365329346663</c:v>
                </c:pt>
                <c:pt idx="1">
                  <c:v>0.0462527057093456</c:v>
                </c:pt>
                <c:pt idx="2">
                  <c:v>0.03887480009430379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328083172474158</c:v>
                </c:pt>
                <c:pt idx="1">
                  <c:v>0.1266783623586787</c:v>
                </c:pt>
                <c:pt idx="2">
                  <c:v>0.123149895630964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9050324959236207</c:v>
                </c:pt>
                <c:pt idx="1">
                  <c:v>0.03509091500599269</c:v>
                </c:pt>
                <c:pt idx="2">
                  <c:v>0.0392610785502605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2076000475772465</c:v>
                </c:pt>
                <c:pt idx="1">
                  <c:v>0.029185640138368774</c:v>
                </c:pt>
                <c:pt idx="2">
                  <c:v>0.0415668826757741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398304866164613</c:v>
                </c:pt>
                <c:pt idx="1">
                  <c:v>0.018901454754878564</c:v>
                </c:pt>
                <c:pt idx="2">
                  <c:v>0.01666269691672731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4748226960884476</c:v>
                </c:pt>
                <c:pt idx="1">
                  <c:v>0.026275524546430663</c:v>
                </c:pt>
                <c:pt idx="2">
                  <c:v>0.0204816001431994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860777074403589</c:v>
                </c:pt>
                <c:pt idx="1">
                  <c:v>0.28436077317236846</c:v>
                </c:pt>
                <c:pt idx="2">
                  <c:v>0.2868475732201075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972294531667738</c:v>
                </c:pt>
                <c:pt idx="1">
                  <c:v>0.5808767121980499</c:v>
                </c:pt>
                <c:pt idx="2">
                  <c:v>0.574168670271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110507291028948</c:v>
                </c:pt>
                <c:pt idx="1">
                  <c:v>0.08541754567988204</c:v>
                </c:pt>
                <c:pt idx="2">
                  <c:v>0.0853531377265830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120631341600902</c:v>
                </c:pt>
                <c:pt idx="1">
                  <c:v>0.06635855946260216</c:v>
                </c:pt>
                <c:pt idx="2">
                  <c:v>0.06101549711031701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299718571368935</c:v>
                </c:pt>
                <c:pt idx="1">
                  <c:v>0.07379293940470241</c:v>
                </c:pt>
                <c:pt idx="2">
                  <c:v>0.0662242099536852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859070976349195</c:v>
                </c:pt>
                <c:pt idx="1">
                  <c:v>0.06097966331922862</c:v>
                </c:pt>
                <c:pt idx="2">
                  <c:v>0.0521785539607122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26245674844957167</c:v>
                </c:pt>
                <c:pt idx="2">
                  <c:v>0.0649959387227501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83162552282567</c:v>
                </c:pt>
                <c:pt idx="1">
                  <c:v>0.02483485941085723</c:v>
                </c:pt>
                <c:pt idx="2">
                  <c:v>0.01725054025592909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3707908054774362</c:v>
                </c:pt>
                <c:pt idx="1">
                  <c:v>0.022912645591488475</c:v>
                </c:pt>
                <c:pt idx="2">
                  <c:v>0.0189191886928052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11195169110069755</c:v>
                </c:pt>
                <c:pt idx="1">
                  <c:v>0.0010305250874461543</c:v>
                </c:pt>
                <c:pt idx="2">
                  <c:v>0.0004172946777928611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2212214541139395</c:v>
                </c:pt>
                <c:pt idx="1">
                  <c:v>0.05755087500078587</c:v>
                </c:pt>
                <c:pt idx="2">
                  <c:v>0.0594769686277249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8030343754388285</c:v>
                </c:pt>
                <c:pt idx="1">
                  <c:v>0.3717037791369235</c:v>
                </c:pt>
                <c:pt idx="2">
                  <c:v>0.366262553945440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5177345982701881</c:v>
                </c:pt>
                <c:pt idx="1">
                  <c:v>0.053803120766644924</c:v>
                </c:pt>
                <c:pt idx="2">
                  <c:v>0.054206128037582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4318104410007256</c:v>
                </c:pt>
                <c:pt idx="1">
                  <c:v>0.04125499456641898</c:v>
                </c:pt>
                <c:pt idx="2">
                  <c:v>0.039349913359469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76059419251022</c:v>
                </c:pt>
                <c:pt idx="1">
                  <c:v>0.10970193320802923</c:v>
                </c:pt>
                <c:pt idx="2">
                  <c:v>0.0985462071157792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376072804718408</c:v>
                </c:pt>
                <c:pt idx="1">
                  <c:v>0.11598829147371618</c:v>
                </c:pt>
                <c:pt idx="2">
                  <c:v>0.0918843979619015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55222771308266264</c:v>
                </c:pt>
                <c:pt idx="2">
                  <c:v>0.1158840905021145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0754883823769626</c:v>
                </c:pt>
                <c:pt idx="1">
                  <c:v>0.022577094271941496</c:v>
                </c:pt>
                <c:pt idx="2">
                  <c:v>0.01771872348569542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188566702182977</c:v>
                </c:pt>
                <c:pt idx="1">
                  <c:v>0.01959231877449729</c:v>
                </c:pt>
                <c:pt idx="2">
                  <c:v>0.01760433951341714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1860641087486712</c:v>
                </c:pt>
                <c:pt idx="1">
                  <c:v>0.0018444126742757018</c:v>
                </c:pt>
                <c:pt idx="2">
                  <c:v>0.000611536433866357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077371363137187</c:v>
                </c:pt>
                <c:pt idx="1">
                  <c:v>0.20831128381928643</c:v>
                </c:pt>
                <c:pt idx="2">
                  <c:v>0.197932109644734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283533461698104</c:v>
                </c:pt>
                <c:pt idx="1">
                  <c:v>0.3363723543710824</c:v>
                </c:pt>
                <c:pt idx="2">
                  <c:v>0.367457619145977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871877914396296</c:v>
                </c:pt>
                <c:pt idx="1">
                  <c:v>0.12402874604671704</c:v>
                </c:pt>
                <c:pt idx="2">
                  <c:v>0.1048354156507343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476452777721418</c:v>
                </c:pt>
                <c:pt idx="1">
                  <c:v>0.10551193242226935</c:v>
                </c:pt>
                <c:pt idx="2">
                  <c:v>0.11684608718363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214484784631451</c:v>
                </c:pt>
                <c:pt idx="1">
                  <c:v>0.09184595979378891</c:v>
                </c:pt>
                <c:pt idx="2">
                  <c:v>0.069875438403824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242314524747128</c:v>
                </c:pt>
                <c:pt idx="1">
                  <c:v>0.07877164048461392</c:v>
                </c:pt>
                <c:pt idx="2">
                  <c:v>0.0705035809182832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849835195364827</c:v>
                </c:pt>
                <c:pt idx="1">
                  <c:v>0.07523078675519103</c:v>
                </c:pt>
                <c:pt idx="2">
                  <c:v>0.0784858545239974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6988894250737367</c:v>
                </c:pt>
                <c:pt idx="1">
                  <c:v>0.05974332846799432</c:v>
                </c:pt>
                <c:pt idx="2">
                  <c:v>0.05791825446095036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3842746061908899</c:v>
                </c:pt>
                <c:pt idx="1">
                  <c:v>0.038098284405673484</c:v>
                </c:pt>
                <c:pt idx="2">
                  <c:v>0.0414746566504515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270505965219659</c:v>
                </c:pt>
                <c:pt idx="1">
                  <c:v>0.01548673631463554</c:v>
                </c:pt>
                <c:pt idx="2">
                  <c:v>0.00824119052753747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6407553908291917</c:v>
                </c:pt>
                <c:pt idx="1">
                  <c:v>0.074910230938034</c:v>
                </c:pt>
                <c:pt idx="2">
                  <c:v>0.084361902534609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750452215610595</c:v>
                </c:pt>
                <c:pt idx="1">
                  <c:v>0.21037419608103083</c:v>
                </c:pt>
                <c:pt idx="2">
                  <c:v>0.22177497773659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78100033641637</c:v>
                </c:pt>
                <c:pt idx="1">
                  <c:v>0.12463640250209837</c:v>
                </c:pt>
                <c:pt idx="2">
                  <c:v>0.103042073781548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9184788258384944</c:v>
                </c:pt>
                <c:pt idx="1">
                  <c:v>0.17885321795277107</c:v>
                </c:pt>
                <c:pt idx="2">
                  <c:v>0.181442670125467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9379404824858445</c:v>
                </c:pt>
                <c:pt idx="1">
                  <c:v>0.047743490397946856</c:v>
                </c:pt>
                <c:pt idx="2">
                  <c:v>0.0361126604279802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499824531251873</c:v>
                </c:pt>
                <c:pt idx="1">
                  <c:v>0.03258686590455044</c:v>
                </c:pt>
                <c:pt idx="2">
                  <c:v>0.0290603907828100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407232200099263</c:v>
                </c:pt>
                <c:pt idx="1">
                  <c:v>0.04100761553185864</c:v>
                </c:pt>
                <c:pt idx="2">
                  <c:v>0.0441122708014954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6219226375142905</c:v>
                </c:pt>
                <c:pt idx="1">
                  <c:v>0.0378604848483811</c:v>
                </c:pt>
                <c:pt idx="2">
                  <c:v>0.03672058353098109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ic Silky Tou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21022396630156073</c:v>
                </c:pt>
                <c:pt idx="1">
                  <c:v>0.22358019978835447</c:v>
                </c:pt>
                <c:pt idx="2">
                  <c:v>0.2477471532500729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7596748976925305</c:v>
                </c:pt>
                <c:pt idx="1">
                  <c:v>0.018069342859242606</c:v>
                </c:pt>
                <c:pt idx="2">
                  <c:v>0.00943560127885302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8034767810388214</c:v>
                </c:pt>
                <c:pt idx="1">
                  <c:v>0.08528818413376563</c:v>
                </c:pt>
                <c:pt idx="2">
                  <c:v>0.090551618284194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2413082674294563</c:v>
                </c:pt>
                <c:pt idx="1">
                  <c:v>0.3419579516016168</c:v>
                </c:pt>
                <c:pt idx="2">
                  <c:v>0.28719526965347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8984831702508784</c:v>
                </c:pt>
                <c:pt idx="1">
                  <c:v>0.2774494462510077</c:v>
                </c:pt>
                <c:pt idx="2">
                  <c:v>0.28278949858413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527056495426885</c:v>
                </c:pt>
                <c:pt idx="1">
                  <c:v>0.10263937752187265</c:v>
                </c:pt>
                <c:pt idx="2">
                  <c:v>0.0971175366641961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3171878026237155</c:v>
                </c:pt>
                <c:pt idx="1">
                  <c:v>0.06298344949364991</c:v>
                </c:pt>
                <c:pt idx="2">
                  <c:v>0.1119156958535361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5113008865730139</c:v>
                </c:pt>
                <c:pt idx="1">
                  <c:v>0.032519422358588214</c:v>
                </c:pt>
                <c:pt idx="2">
                  <c:v>0.03855837478776548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180021861258923</c:v>
                </c:pt>
                <c:pt idx="1">
                  <c:v>0.03616583568181663</c:v>
                </c:pt>
                <c:pt idx="2">
                  <c:v>0.0365025987545026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9509744774558044</c:v>
                </c:pt>
                <c:pt idx="1">
                  <c:v>0.019685106965590823</c:v>
                </c:pt>
                <c:pt idx="2">
                  <c:v>0.02009466478804819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923499355718221</c:v>
                </c:pt>
                <c:pt idx="1">
                  <c:v>0.009823494870390062</c:v>
                </c:pt>
                <c:pt idx="2">
                  <c:v>0.00676018056452666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0615802642334462</c:v>
                </c:pt>
                <c:pt idx="1">
                  <c:v>0.0029014215193489123</c:v>
                </c:pt>
                <c:pt idx="2">
                  <c:v>0.00398231173200739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1384178738559622</c:v>
                </c:pt>
                <c:pt idx="1">
                  <c:v>0.11387449373611831</c:v>
                </c:pt>
                <c:pt idx="2">
                  <c:v>0.1150838686178074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945615314048374</c:v>
                </c:pt>
                <c:pt idx="1">
                  <c:v>0.32089896729421685</c:v>
                </c:pt>
                <c:pt idx="2">
                  <c:v>0.267741794628856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531516931710658</c:v>
                </c:pt>
                <c:pt idx="1">
                  <c:v>0.15052828743803875</c:v>
                </c:pt>
                <c:pt idx="2">
                  <c:v>0.163323891273526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065700582361126</c:v>
                </c:pt>
                <c:pt idx="1">
                  <c:v>0.19400359641851417</c:v>
                </c:pt>
                <c:pt idx="2">
                  <c:v>0.176881768693278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582501610159285</c:v>
                </c:pt>
                <c:pt idx="1">
                  <c:v>0.056273997843851065</c:v>
                </c:pt>
                <c:pt idx="2">
                  <c:v>0.114091054567169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69684314147625</c:v>
                </c:pt>
                <c:pt idx="1">
                  <c:v>0.03949280692118586</c:v>
                </c:pt>
                <c:pt idx="2">
                  <c:v>0.0482220760757459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80101236406307</c:v>
                </c:pt>
                <c:pt idx="1">
                  <c:v>0.047308870994806344</c:v>
                </c:pt>
                <c:pt idx="2">
                  <c:v>0.0545232605452326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3330157514529173</c:v>
                </c:pt>
                <c:pt idx="1">
                  <c:v>0.015262486035661856</c:v>
                </c:pt>
                <c:pt idx="2">
                  <c:v>0.01596616372980552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1731490434634293</c:v>
                </c:pt>
                <c:pt idx="1">
                  <c:v>0.012416377176543567</c:v>
                </c:pt>
                <c:pt idx="2">
                  <c:v>0.0075172196435175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9743869481169897</c:v>
                </c:pt>
                <c:pt idx="1">
                  <c:v>0.005494727087194048</c:v>
                </c:pt>
                <c:pt idx="2">
                  <c:v>0.00642400768114655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5471363498767693</c:v>
                </c:pt>
                <c:pt idx="1">
                  <c:v>0.1583198827899875</c:v>
                </c:pt>
                <c:pt idx="2">
                  <c:v>0.1453087631617207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626997105168836</c:v>
                </c:pt>
                <c:pt idx="1">
                  <c:v>0.32769551715688405</c:v>
                </c:pt>
                <c:pt idx="2">
                  <c:v>0.280496339966208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em P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4502265535583</c:v>
                </c:pt>
                <c:pt idx="1">
                  <c:v>0.10685061865012489</c:v>
                </c:pt>
                <c:pt idx="2">
                  <c:v>0.100800865826581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697472703740424</c:v>
                </c:pt>
                <c:pt idx="1">
                  <c:v>0.11373087157610944</c:v>
                </c:pt>
                <c:pt idx="2">
                  <c:v>0.113846089531119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Razor</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474906263547964</c:v>
                </c:pt>
                <c:pt idx="1">
                  <c:v>0.0905207912266549</c:v>
                </c:pt>
                <c:pt idx="2">
                  <c:v>0.079628475123784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vl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392255121528711</c:v>
                </c:pt>
                <c:pt idx="1">
                  <c:v>0.076506130628812</c:v>
                </c:pt>
                <c:pt idx="2">
                  <c:v>0.0743837397405668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li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3441790717803105</c:v>
                </c:pt>
                <c:pt idx="1">
                  <c:v>0.08006847129324576</c:v>
                </c:pt>
                <c:pt idx="2">
                  <c:v>0.079178071399580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387857543987754</c:v>
                </c:pt>
                <c:pt idx="1">
                  <c:v>0.021531813375199476</c:v>
                </c:pt>
                <c:pt idx="2">
                  <c:v>0.00705472237250324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rdel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7735901572606926</c:v>
                </c:pt>
                <c:pt idx="1">
                  <c:v>0.030102221027983406</c:v>
                </c:pt>
                <c:pt idx="2">
                  <c:v>0.02696710387676517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c:v>
                </c:pt>
                <c:pt idx="2">
                  <c:v>0.0382106198674989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1209541532907479</c:v>
                </c:pt>
                <c:pt idx="1">
                  <c:v>0.15299356506498607</c:v>
                </c:pt>
                <c:pt idx="2">
                  <c:v>0.199433972295390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970025174815803</c:v>
                </c:pt>
                <c:pt idx="1">
                  <c:v>0.30639396143423925</c:v>
                </c:pt>
                <c:pt idx="2">
                  <c:v>0.271157390386006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em P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49871375719293</c:v>
                </c:pt>
                <c:pt idx="1">
                  <c:v>0.1620223343115191</c:v>
                </c:pt>
                <c:pt idx="2">
                  <c:v>0.154259584084043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87504284102257</c:v>
                </c:pt>
                <c:pt idx="1">
                  <c:v>0.0712162570956595</c:v>
                </c:pt>
                <c:pt idx="2">
                  <c:v>0.0744420795026356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Razor</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621389365598272</c:v>
                </c:pt>
                <c:pt idx="1">
                  <c:v>0.09761830309877778</c:v>
                </c:pt>
                <c:pt idx="2">
                  <c:v>0.0899446676226440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vl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447765782213901</c:v>
                </c:pt>
                <c:pt idx="1">
                  <c:v>0.04699633346861576</c:v>
                </c:pt>
                <c:pt idx="2">
                  <c:v>0.04737129040985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li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423224629633688</c:v>
                </c:pt>
                <c:pt idx="1">
                  <c:v>0.08783455231261954</c:v>
                </c:pt>
                <c:pt idx="2">
                  <c:v>0.0922587238103032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Finishing Touch Flawles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9101726889336212</c:v>
                </c:pt>
                <c:pt idx="1">
                  <c:v>0.021228388991218355</c:v>
                </c:pt>
                <c:pt idx="2">
                  <c:v>0.0084993063882245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rdel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6830431637873544</c:v>
                </c:pt>
                <c:pt idx="1">
                  <c:v>0.03329991035692878</c:v>
                </c:pt>
                <c:pt idx="2">
                  <c:v>0.0303221155624306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c:v>
                </c:pt>
                <c:pt idx="2">
                  <c:v>0.01999826341787649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6919218479233394</c:v>
                </c:pt>
                <c:pt idx="1">
                  <c:v>0.17338995893042192</c:v>
                </c:pt>
                <c:pt idx="2">
                  <c:v>0.211746578815982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8%</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834039009784337</c:v>
                </c:pt>
                <c:pt idx="1">
                  <c:v>0.38033945694025467</c:v>
                </c:pt>
                <c:pt idx="2">
                  <c:v>0.40929872763025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09555358113892</c:v>
                </c:pt>
                <c:pt idx="1">
                  <c:v>0.2488198547622084</c:v>
                </c:pt>
                <c:pt idx="2">
                  <c:v>0.236340721261303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317830352961918</c:v>
                </c:pt>
                <c:pt idx="1">
                  <c:v>0.14137585749097883</c:v>
                </c:pt>
                <c:pt idx="2">
                  <c:v>0.14914310881894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979277542725532</c:v>
                </c:pt>
                <c:pt idx="1">
                  <c:v>0.0672278055929229</c:v>
                </c:pt>
                <c:pt idx="2">
                  <c:v>0.068527294231808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108949677378292</c:v>
                </c:pt>
                <c:pt idx="1">
                  <c:v>0.053826928657303034</c:v>
                </c:pt>
                <c:pt idx="2">
                  <c:v>0.04284570284255139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474866376829072</c:v>
                </c:pt>
                <c:pt idx="1">
                  <c:v>0.033394901656003395</c:v>
                </c:pt>
                <c:pt idx="2">
                  <c:v>0.02600016743792891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9470162684259248</c:v>
                </c:pt>
                <c:pt idx="1">
                  <c:v>0.02751796862239738</c:v>
                </c:pt>
                <c:pt idx="2">
                  <c:v>0.025299884591293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5115454585177115</c:v>
                </c:pt>
                <c:pt idx="1">
                  <c:v>0.016776717324184957</c:v>
                </c:pt>
                <c:pt idx="2">
                  <c:v>0.01546415960329789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1404587977716963</c:v>
                </c:pt>
                <c:pt idx="1">
                  <c:v>0.007640946863141632</c:v>
                </c:pt>
                <c:pt idx="2">
                  <c:v>0.007444195981095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210524764402092</c:v>
                </c:pt>
                <c:pt idx="1">
                  <c:v>0.023079562090604782</c:v>
                </c:pt>
                <c:pt idx="2">
                  <c:v>0.0196360376015171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1871911279196948</c:v>
                </c:pt>
                <c:pt idx="1">
                  <c:v>0.2298630883967503</c:v>
                </c:pt>
                <c:pt idx="2">
                  <c:v>0.247457025143310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64318876379409</c:v>
                </c:pt>
                <c:pt idx="1">
                  <c:v>0.188906896663384</c:v>
                </c:pt>
                <c:pt idx="2">
                  <c:v>0.17975703315494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41597616006926</c:v>
                </c:pt>
                <c:pt idx="1">
                  <c:v>0.18178682842188834</c:v>
                </c:pt>
                <c:pt idx="2">
                  <c:v>0.178175837142725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5306502194361585</c:v>
                </c:pt>
                <c:pt idx="1">
                  <c:v>0.26066820775058547</c:v>
                </c:pt>
                <c:pt idx="2">
                  <c:v>0.272361420954356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876718332615462</c:v>
                </c:pt>
                <c:pt idx="1">
                  <c:v>0.04092303566089873</c:v>
                </c:pt>
                <c:pt idx="2">
                  <c:v>0.0325474965359075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0896084001903101</c:v>
                </c:pt>
                <c:pt idx="1">
                  <c:v>0.010954459111687081</c:v>
                </c:pt>
                <c:pt idx="2">
                  <c:v>0.00890855159315470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716617619929503</c:v>
                </c:pt>
                <c:pt idx="1">
                  <c:v>0.03579924580481299</c:v>
                </c:pt>
                <c:pt idx="2">
                  <c:v>0.03291043625243362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6160690367153988</c:v>
                </c:pt>
                <c:pt idx="1">
                  <c:v>0.030376640062524548</c:v>
                </c:pt>
                <c:pt idx="2">
                  <c:v>0.02970247718775644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5.443840619998122e-05</c:v>
                </c:pt>
                <c:pt idx="1">
                  <c:v>0.002345678706090175</c:v>
                </c:pt>
                <c:pt idx="2">
                  <c:v>0.00251496274388997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457964372507447</c:v>
                </c:pt>
                <c:pt idx="1">
                  <c:v>0.01837591942137838</c:v>
                </c:pt>
                <c:pt idx="2">
                  <c:v>0.01566475929152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244574905152383</c:v>
                </c:pt>
                <c:pt idx="1">
                  <c:v>0.43628875472288964</c:v>
                </c:pt>
                <c:pt idx="2">
                  <c:v>0.330545002664733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983638490348525</c:v>
                </c:pt>
                <c:pt idx="1">
                  <c:v>0.1642717476602241</c:v>
                </c:pt>
                <c:pt idx="2">
                  <c:v>0.153858667539156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126760021517467</c:v>
                </c:pt>
                <c:pt idx="1">
                  <c:v>0.20467153665633395</c:v>
                </c:pt>
                <c:pt idx="2">
                  <c:v>0.105182169341279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158931605096428</c:v>
                </c:pt>
                <c:pt idx="1">
                  <c:v>0.035430200024977494</c:v>
                </c:pt>
                <c:pt idx="2">
                  <c:v>0.001206898487616756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8118558005706</c:v>
                </c:pt>
                <c:pt idx="1">
                  <c:v>0.061233067963010944</c:v>
                </c:pt>
                <c:pt idx="2">
                  <c:v>0.051295013566510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94241198479965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051112084541778</c:v>
                </c:pt>
                <c:pt idx="1">
                  <c:v>0.030578042547480536</c:v>
                </c:pt>
                <c:pt idx="2">
                  <c:v>0.0162082654529094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0846346050854242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6572270140059274</c:v>
                </c:pt>
                <c:pt idx="1">
                  <c:v>0.030627065536093408</c:v>
                </c:pt>
                <c:pt idx="2">
                  <c:v>0.02686641680926016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4880746118857684</c:v>
                </c:pt>
                <c:pt idx="1">
                  <c:v>0.03689958488898996</c:v>
                </c:pt>
                <c:pt idx="2">
                  <c:v>0.0359617625731430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746180273638016</c:v>
                </c:pt>
                <c:pt idx="1">
                  <c:v>0.3814401053968989</c:v>
                </c:pt>
                <c:pt idx="2">
                  <c:v>0.299505434443020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537853370820443</c:v>
                </c:pt>
                <c:pt idx="1">
                  <c:v>0.21115322957946472</c:v>
                </c:pt>
                <c:pt idx="2">
                  <c:v>0.195836807475525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358425205832422</c:v>
                </c:pt>
                <c:pt idx="1">
                  <c:v>0.13022275208176642</c:v>
                </c:pt>
                <c:pt idx="2">
                  <c:v>0.077907680648115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728832978816205</c:v>
                </c:pt>
                <c:pt idx="1">
                  <c:v>0.02572010508712236</c:v>
                </c:pt>
                <c:pt idx="2">
                  <c:v>0.000829091016590554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5238787417214099</c:v>
                </c:pt>
                <c:pt idx="1">
                  <c:v>0.07451537060886115</c:v>
                </c:pt>
                <c:pt idx="2">
                  <c:v>0.0587109314373979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50550566153602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5612414362305323</c:v>
                </c:pt>
                <c:pt idx="1">
                  <c:v>0.04176106118495889</c:v>
                </c:pt>
                <c:pt idx="2">
                  <c:v>0.02322462655630932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052302608814836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127102778653819</c:v>
                </c:pt>
                <c:pt idx="1">
                  <c:v>0.017511938923007328</c:v>
                </c:pt>
                <c:pt idx="2">
                  <c:v>0.016095384435529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564796113508109</c:v>
                </c:pt>
                <c:pt idx="1">
                  <c:v>0.11767543713792024</c:v>
                </c:pt>
                <c:pt idx="2">
                  <c:v>0.125036869019072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252082493898984</c:v>
                </c:pt>
                <c:pt idx="1">
                  <c:v>0.6023296055833486</c:v>
                </c:pt>
                <c:pt idx="2">
                  <c:v>0.706363123950332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966450702487744</c:v>
                </c:pt>
                <c:pt idx="1">
                  <c:v>0.247427106827463</c:v>
                </c:pt>
                <c:pt idx="2">
                  <c:v>0.149759690910790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02660309655555</c:v>
                </c:pt>
                <c:pt idx="1">
                  <c:v>0.07028011821709221</c:v>
                </c:pt>
                <c:pt idx="2">
                  <c:v>0.069110231555945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349661316706408</c:v>
                </c:pt>
                <c:pt idx="1">
                  <c:v>0.06001814353880709</c:v>
                </c:pt>
                <c:pt idx="2">
                  <c:v>0.0517780527393580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3442190992595426e-05</c:v>
                </c:pt>
                <c:pt idx="1">
                  <c:v>0.01963838703320018</c:v>
                </c:pt>
                <c:pt idx="2">
                  <c:v>0.022725812197817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3311572616119794</c:v>
                </c:pt>
                <c:pt idx="1">
                  <c:v>0.0003066388000889554</c:v>
                </c:pt>
                <c:pt idx="2">
                  <c:v>0.000263088645756225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77071756611658</c:v>
                </c:pt>
                <c:pt idx="1">
                  <c:v>0.5230146188272354</c:v>
                </c:pt>
                <c:pt idx="2">
                  <c:v>0.6596819486476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396078804082767</c:v>
                </c:pt>
                <c:pt idx="1">
                  <c:v>0.3001889204147831</c:v>
                </c:pt>
                <c:pt idx="2">
                  <c:v>0.18093440837013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0636711916365366</c:v>
                </c:pt>
                <c:pt idx="1">
                  <c:v>0.03991948176075196</c:v>
                </c:pt>
                <c:pt idx="2">
                  <c:v>0.04300909413057791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426749569188675</c:v>
                </c:pt>
                <c:pt idx="1">
                  <c:v>0.12564667633186274</c:v>
                </c:pt>
                <c:pt idx="2">
                  <c:v>0.103538189292233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046699235881057e-05</c:v>
                </c:pt>
                <c:pt idx="1">
                  <c:v>0.010341786654255905</c:v>
                </c:pt>
                <c:pt idx="2">
                  <c:v>0.01194913406819773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4087819905185912</c:v>
                </c:pt>
                <c:pt idx="1">
                  <c:v>0.0008885160111108807</c:v>
                </c:pt>
                <c:pt idx="2">
                  <c:v>0.0008872254912273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4069980076416956</c:v>
                </c:pt>
                <c:pt idx="1">
                  <c:v>0.34591692152404113</c:v>
                </c:pt>
                <c:pt idx="2">
                  <c:v>0.37639447440735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93554403807959</c:v>
                </c:pt>
                <c:pt idx="1">
                  <c:v>0.26188632995230493</c:v>
                </c:pt>
                <c:pt idx="2">
                  <c:v>0.237592233263997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452527771735716</c:v>
                </c:pt>
                <c:pt idx="1">
                  <c:v>0.1904383509225461</c:v>
                </c:pt>
                <c:pt idx="2">
                  <c:v>0.2119008117269332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893940202804168</c:v>
                </c:pt>
                <c:pt idx="1">
                  <c:v>0.0888562853727398</c:v>
                </c:pt>
                <c:pt idx="2">
                  <c:v>0.096712486276598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36579688868728</c:v>
                </c:pt>
                <c:pt idx="1">
                  <c:v>0.0353038199239731</c:v>
                </c:pt>
                <c:pt idx="2">
                  <c:v>0.0192364397512653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9604630041458666</c:v>
                </c:pt>
                <c:pt idx="1">
                  <c:v>0.030574227522917857</c:v>
                </c:pt>
                <c:pt idx="2">
                  <c:v>0.01538954816995846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586918453872666</c:v>
                </c:pt>
                <c:pt idx="1">
                  <c:v>0.025132793579770565</c:v>
                </c:pt>
                <c:pt idx="2">
                  <c:v>0.0235224103422610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412085288884435e-07</c:v>
                </c:pt>
                <c:pt idx="1">
                  <c:v>0.009441646634570528</c:v>
                </c:pt>
                <c:pt idx="2">
                  <c:v>0.01109633118633487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5640363519910244</c:v>
                </c:pt>
                <c:pt idx="1">
                  <c:v>0.012449624567135956</c:v>
                </c:pt>
                <c:pt idx="2">
                  <c:v>0.0081552648752943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432228822434539</c:v>
                </c:pt>
                <c:pt idx="1">
                  <c:v>0.20873706651407037</c:v>
                </c:pt>
                <c:pt idx="2">
                  <c:v>0.216538039858773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668525005682434</c:v>
                </c:pt>
                <c:pt idx="1">
                  <c:v>0.16139191834519276</c:v>
                </c:pt>
                <c:pt idx="2">
                  <c:v>0.144218124278829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4167844047188297</c:v>
                </c:pt>
                <c:pt idx="1">
                  <c:v>0.22891270550575965</c:v>
                </c:pt>
                <c:pt idx="2">
                  <c:v>0.226695398898107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0065012134283514</c:v>
                </c:pt>
                <c:pt idx="1">
                  <c:v>0.324892485467421</c:v>
                </c:pt>
                <c:pt idx="2">
                  <c:v>0.3565314811624117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3284097693803</c:v>
                </c:pt>
                <c:pt idx="1">
                  <c:v>0.025791686956264603</c:v>
                </c:pt>
                <c:pt idx="2">
                  <c:v>0.0136587416991102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8861973072474617</c:v>
                </c:pt>
                <c:pt idx="1">
                  <c:v>0.009516139821669815</c:v>
                </c:pt>
                <c:pt idx="2">
                  <c:v>0.004848400894903643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928433287230384</c:v>
                </c:pt>
                <c:pt idx="1">
                  <c:v>0.031916664222661165</c:v>
                </c:pt>
                <c:pt idx="2">
                  <c:v>0.02930953921396295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2.9081775340714665e-08</c:v>
                </c:pt>
                <c:pt idx="1">
                  <c:v>0.0026575070252282734</c:v>
                </c:pt>
                <c:pt idx="2">
                  <c:v>0.003465587021634669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2589366768828809</c:v>
                </c:pt>
                <c:pt idx="1">
                  <c:v>0.0061838261417323775</c:v>
                </c:pt>
                <c:pt idx="2">
                  <c:v>0.00473468697226587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264866043075165</c:v>
                </c:pt>
                <c:pt idx="1">
                  <c:v>0.5000159695042081</c:v>
                </c:pt>
                <c:pt idx="2">
                  <c:v>0.54213350019972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203468470475682</c:v>
                </c:pt>
                <c:pt idx="1">
                  <c:v>0.2978609962899924</c:v>
                </c:pt>
                <c:pt idx="2">
                  <c:v>0.241006450996226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327357889373801</c:v>
                </c:pt>
                <c:pt idx="1">
                  <c:v>0.08663622316519339</c:v>
                </c:pt>
                <c:pt idx="2">
                  <c:v>0.082545116530952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139804236005564</c:v>
                </c:pt>
                <c:pt idx="1">
                  <c:v>0.05194092224671158</c:v>
                </c:pt>
                <c:pt idx="2">
                  <c:v>0.048716528630258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096478084192905</c:v>
                </c:pt>
                <c:pt idx="1">
                  <c:v>0.04715358490270054</c:v>
                </c:pt>
                <c:pt idx="2">
                  <c:v>0.0625433118772521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04259747593985552</c:v>
                </c:pt>
                <c:pt idx="2">
                  <c:v>0.0093731180322671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14660556379053296</c:v>
                </c:pt>
                <c:pt idx="1">
                  <c:v>0.0014966155004588488</c:v>
                </c:pt>
                <c:pt idx="2">
                  <c:v>0.001468448373976109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7703375457882344</c:v>
                </c:pt>
                <c:pt idx="1">
                  <c:v>0.010635940796749625</c:v>
                </c:pt>
                <c:pt idx="2">
                  <c:v>0.01221352535934205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3751293791435812</c:v>
                </c:pt>
                <c:pt idx="1">
                  <c:v>0.2770374249700959</c:v>
                </c:pt>
                <c:pt idx="2">
                  <c:v>0.31835622599701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237874963679505</c:v>
                </c:pt>
                <c:pt idx="1">
                  <c:v>0.2675331739974573</c:v>
                </c:pt>
                <c:pt idx="2">
                  <c:v>0.220904868907354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4073221471700965</c:v>
                </c:pt>
                <c:pt idx="1">
                  <c:v>0.3622294207778036</c:v>
                </c:pt>
                <c:pt idx="2">
                  <c:v>0.358530066770524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47033672789832</c:v>
                </c:pt>
                <c:pt idx="1">
                  <c:v>0.06453573729783485</c:v>
                </c:pt>
                <c:pt idx="2">
                  <c:v>0.063484672397359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4189239002199356</c:v>
                </c:pt>
                <c:pt idx="1">
                  <c:v>0.015616354255238813</c:v>
                </c:pt>
                <c:pt idx="2">
                  <c:v>0.02544627629904339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012878941675027386</c:v>
                </c:pt>
                <c:pt idx="2">
                  <c:v>0.00290661225697327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8851959633254913</c:v>
                </c:pt>
                <c:pt idx="1">
                  <c:v>0.0010882176121390793</c:v>
                </c:pt>
                <c:pt idx="2">
                  <c:v>0.001037962514811042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8189548756173677</c:v>
                </c:pt>
                <c:pt idx="1">
                  <c:v>0.010671776921927709</c:v>
                </c:pt>
                <c:pt idx="2">
                  <c:v>0.00933331485692161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3%</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308069827932019</c:v>
                </c:pt>
                <c:pt idx="1">
                  <c:v>0.6008413113269747</c:v>
                </c:pt>
                <c:pt idx="2">
                  <c:v>0.582525639031671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9081025805982741</c:v>
                </c:pt>
                <c:pt idx="1">
                  <c:v>0.09486495628423097</c:v>
                </c:pt>
                <c:pt idx="2">
                  <c:v>0.091303504202396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578861557981462</c:v>
                </c:pt>
                <c:pt idx="1">
                  <c:v>0.08169081890070241</c:v>
                </c:pt>
                <c:pt idx="2">
                  <c:v>0.0744873702945782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997644730953704</c:v>
                </c:pt>
                <c:pt idx="1">
                  <c:v>0.09201249075532494</c:v>
                </c:pt>
                <c:pt idx="2">
                  <c:v>0.083500024394293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327257585010226</c:v>
                </c:pt>
                <c:pt idx="2">
                  <c:v>0.0819513358132199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989751533730236</c:v>
                </c:pt>
                <c:pt idx="1">
                  <c:v>0.03078988632355434</c:v>
                </c:pt>
                <c:pt idx="2">
                  <c:v>0.02160685456637476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0097761318724936</c:v>
                </c:pt>
                <c:pt idx="1">
                  <c:v>0.028569800954866467</c:v>
                </c:pt>
                <c:pt idx="2">
                  <c:v>0.0238546102471331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8257061475206278</c:v>
                </c:pt>
                <c:pt idx="1">
                  <c:v>0.032897200483799176</c:v>
                </c:pt>
                <c:pt idx="2">
                  <c:v>0.0348626605212843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10261163625469101</c:v>
                </c:pt>
                <c:pt idx="1">
                  <c:v>0.0009154468932120796</c:v>
                </c:pt>
                <c:pt idx="2">
                  <c:v>0.000143081724304682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3339241763838517</c:v>
                </c:pt>
                <c:pt idx="1">
                  <c:v>0.004692329576312264</c:v>
                </c:pt>
                <c:pt idx="2">
                  <c:v>0.0057649192047432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084511357790223</c:v>
                </c:pt>
                <c:pt idx="1">
                  <c:v>0.44071800887382245</c:v>
                </c:pt>
                <c:pt idx="2">
                  <c:v>0.398908214806686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550351470572545</c:v>
                </c:pt>
                <c:pt idx="1">
                  <c:v>0.0816422648862459</c:v>
                </c:pt>
                <c:pt idx="2">
                  <c:v>0.073804465177652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306602581022863</c:v>
                </c:pt>
                <c:pt idx="1">
                  <c:v>0.07039204830768432</c:v>
                </c:pt>
                <c:pt idx="2">
                  <c:v>0.064184120016617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8520264355600172</c:v>
                </c:pt>
                <c:pt idx="1">
                  <c:v>0.18967749039129997</c:v>
                </c:pt>
                <c:pt idx="2">
                  <c:v>0.165700301249796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9548160518139333</c:v>
                </c:pt>
                <c:pt idx="2">
                  <c:v>0.19485304679153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7517615279239695</c:v>
                </c:pt>
                <c:pt idx="1">
                  <c:v>0.038867647440845754</c:v>
                </c:pt>
                <c:pt idx="2">
                  <c:v>0.02962757078733102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152701473379114</c:v>
                </c:pt>
                <c:pt idx="1">
                  <c:v>0.03387562777992138</c:v>
                </c:pt>
                <c:pt idx="2">
                  <c:v>0.0296007776052686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0105793732490837</c:v>
                </c:pt>
                <c:pt idx="1">
                  <c:v>0.038951633449215275</c:v>
                </c:pt>
                <c:pt idx="2">
                  <c:v>0.0367715660512521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7360568030999365</c:v>
                </c:pt>
                <c:pt idx="1">
                  <c:v>0.002395698505482804</c:v>
                </c:pt>
                <c:pt idx="2">
                  <c:v>0.0003209493273802030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5890199600400249</c:v>
                </c:pt>
                <c:pt idx="1">
                  <c:v>0.007997975184088797</c:v>
                </c:pt>
                <c:pt idx="2">
                  <c:v>0.006228988186482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23774842229778</c:v>
                </c:pt>
                <c:pt idx="1">
                  <c:v>0.3237723236566987</c:v>
                </c:pt>
                <c:pt idx="2">
                  <c:v>0.27186516722992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316531346574266</c:v>
                </c:pt>
                <c:pt idx="1">
                  <c:v>0.15256753939012135</c:v>
                </c:pt>
                <c:pt idx="2">
                  <c:v>0.125485854521274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010918504480737</c:v>
                </c:pt>
                <c:pt idx="1">
                  <c:v>0.12870471217428145</c:v>
                </c:pt>
                <c:pt idx="2">
                  <c:v>0.13984983924813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753060959069543</c:v>
                </c:pt>
                <c:pt idx="1">
                  <c:v>0.07401854657495048</c:v>
                </c:pt>
                <c:pt idx="2">
                  <c:v>0.0749964010776201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151608048603757</c:v>
                </c:pt>
                <c:pt idx="1">
                  <c:v>0.09177543360743194</c:v>
                </c:pt>
                <c:pt idx="2">
                  <c:v>0.0938590387792455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828047488991695</c:v>
                </c:pt>
                <c:pt idx="1">
                  <c:v>0.07173432990765531</c:v>
                </c:pt>
                <c:pt idx="2">
                  <c:v>0.1040414184552739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0459330517667049</c:v>
                </c:pt>
                <c:pt idx="2">
                  <c:v>0.0740221213762279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9673714459122185</c:v>
                </c:pt>
                <c:pt idx="1">
                  <c:v>0.003353955426997123</c:v>
                </c:pt>
                <c:pt idx="2">
                  <c:v>0.00017309102874339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575943369934784</c:v>
                </c:pt>
                <c:pt idx="1">
                  <c:v>0.10814010749515872</c:v>
                </c:pt>
                <c:pt idx="2">
                  <c:v>0.1157070682835539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3859812100155444</c:v>
                </c:pt>
                <c:pt idx="1">
                  <c:v>0.0556602434279554</c:v>
                </c:pt>
                <c:pt idx="2">
                  <c:v>0.06169067090768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428204070054638</c:v>
                </c:pt>
                <c:pt idx="1">
                  <c:v>0.2515161361771636</c:v>
                </c:pt>
                <c:pt idx="2">
                  <c:v>0.213107308562482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26786823620067</c:v>
                </c:pt>
                <c:pt idx="1">
                  <c:v>0.12737420939635277</c:v>
                </c:pt>
                <c:pt idx="2">
                  <c:v>0.105900611647581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359739172928277</c:v>
                </c:pt>
                <c:pt idx="1">
                  <c:v>0.18817899729579454</c:v>
                </c:pt>
                <c:pt idx="2">
                  <c:v>0.2032581409728615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167328395917044</c:v>
                </c:pt>
                <c:pt idx="1">
                  <c:v>0.07537529558346476</c:v>
                </c:pt>
                <c:pt idx="2">
                  <c:v>0.0769584628550777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169449228591298</c:v>
                </c:pt>
                <c:pt idx="1">
                  <c:v>0.14840385971835052</c:v>
                </c:pt>
                <c:pt idx="2">
                  <c:v>0.14817611972642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4611273462816056</c:v>
                </c:pt>
                <c:pt idx="1">
                  <c:v>0.03780131368574905</c:v>
                </c:pt>
                <c:pt idx="2">
                  <c:v>0.05245946950748322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04152246392619934</c:v>
                </c:pt>
                <c:pt idx="2">
                  <c:v>0.067505727505065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inishing Touch Flawles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7942871837197814</c:v>
                </c:pt>
                <c:pt idx="1">
                  <c:v>0.0036081100302538982</c:v>
                </c:pt>
                <c:pt idx="2">
                  <c:v>0.000151825113041582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034957508233691</c:v>
                </c:pt>
                <c:pt idx="1">
                  <c:v>0.12621961418667152</c:v>
                </c:pt>
                <c:pt idx="2">
                  <c:v>0.1324823341099771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8972005892380114</c:v>
                </c:pt>
                <c:pt idx="1">
                  <c:v>0.10673999124876897</c:v>
                </c:pt>
                <c:pt idx="2">
                  <c:v>0.112623090263922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4312</c:v>
                </c:pt>
                <c:pt idx="1">
                  <c:v>0.300301</c:v>
                </c:pt>
                <c:pt idx="2">
                  <c:v>0.1760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099</c:v>
                </c:pt>
                <c:pt idx="1">
                  <c:v>0.264206</c:v>
                </c:pt>
                <c:pt idx="2">
                  <c:v>0.2248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8332</c:v>
                </c:pt>
                <c:pt idx="1">
                  <c:v>0.051345</c:v>
                </c:pt>
                <c:pt idx="2">
                  <c:v>0.03599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1.5e-05</c:v>
                </c:pt>
                <c:pt idx="2">
                  <c:v>5.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281966887441935</c:v>
                </c:pt>
                <c:pt idx="1">
                  <c:v>0.36683845458802994</c:v>
                </c:pt>
                <c:pt idx="2">
                  <c:v>0.4028444916118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79207000425742</c:v>
                </c:pt>
                <c:pt idx="1">
                  <c:v>0.16045662542087033</c:v>
                </c:pt>
                <c:pt idx="2">
                  <c:v>0.14022677712018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395149068520908</c:v>
                </c:pt>
                <c:pt idx="1">
                  <c:v>0.1492044877867366</c:v>
                </c:pt>
                <c:pt idx="2">
                  <c:v>0.1597750198459048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92962856530143</c:v>
                </c:pt>
                <c:pt idx="1">
                  <c:v>0.14958703830197081</c:v>
                </c:pt>
                <c:pt idx="2">
                  <c:v>0.1176181954443738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879284799520918</c:v>
                </c:pt>
                <c:pt idx="1">
                  <c:v>0.11053047292627541</c:v>
                </c:pt>
                <c:pt idx="2">
                  <c:v>0.107714586819359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0000054545491082</c:v>
                </c:pt>
                <c:pt idx="1">
                  <c:v>0.05584273230300879</c:v>
                </c:pt>
                <c:pt idx="2">
                  <c:v>0.0653108381366941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4568184878209966</c:v>
                </c:pt>
                <c:pt idx="1">
                  <c:v>9.729275707236307e-05</c:v>
                </c:pt>
                <c:pt idx="2">
                  <c:v>1.0570388747186956e-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265076732587285</c:v>
                </c:pt>
                <c:pt idx="1">
                  <c:v>0.007442895916035775</c:v>
                </c:pt>
                <c:pt idx="2">
                  <c:v>0.00650903398274278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0352651208319154</c:v>
                </c:pt>
                <c:pt idx="1">
                  <c:v>0.29231339111858307</c:v>
                </c:pt>
                <c:pt idx="2">
                  <c:v>0.31382685356944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222119081361097</c:v>
                </c:pt>
                <c:pt idx="1">
                  <c:v>0.1520083872429121</c:v>
                </c:pt>
                <c:pt idx="2">
                  <c:v>0.1293629878946663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660990013798862</c:v>
                </c:pt>
                <c:pt idx="1">
                  <c:v>0.17356200138401975</c:v>
                </c:pt>
                <c:pt idx="2">
                  <c:v>0.189931728213268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621788142990513</c:v>
                </c:pt>
                <c:pt idx="1">
                  <c:v>0.10975578077625638</c:v>
                </c:pt>
                <c:pt idx="2">
                  <c:v>0.0806777456923753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413718231594017</c:v>
                </c:pt>
                <c:pt idx="1">
                  <c:v>0.1482579222663012</c:v>
                </c:pt>
                <c:pt idx="2">
                  <c:v>0.145883612858809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9648600328808094</c:v>
                </c:pt>
                <c:pt idx="1">
                  <c:v>0.10439374323316161</c:v>
                </c:pt>
                <c:pt idx="2">
                  <c:v>0.125151938192040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688456726905545</c:v>
                </c:pt>
                <c:pt idx="1">
                  <c:v>0.0001662486206559755</c:v>
                </c:pt>
                <c:pt idx="2">
                  <c:v>1.5298999827886253e-0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0754165621500023</c:v>
                </c:pt>
                <c:pt idx="1">
                  <c:v>0.019542525358109922</c:v>
                </c:pt>
                <c:pt idx="2">
                  <c:v>0.01516360367940945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658557185146204</c:v>
                </c:pt>
                <c:pt idx="1">
                  <c:v>0.3294098841638197</c:v>
                </c:pt>
                <c:pt idx="2">
                  <c:v>0.28124278463796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51853062480358</c:v>
                </c:pt>
                <c:pt idx="1">
                  <c:v>0.16999191602823358</c:v>
                </c:pt>
                <c:pt idx="2">
                  <c:v>0.154204461799749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380626876788143</c:v>
                </c:pt>
                <c:pt idx="1">
                  <c:v>0.09396763299869959</c:v>
                </c:pt>
                <c:pt idx="2">
                  <c:v>0.11252766984735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664985493340732</c:v>
                </c:pt>
                <c:pt idx="1">
                  <c:v>0.08867318899178377</c:v>
                </c:pt>
                <c:pt idx="2">
                  <c:v>0.091183748191078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595432388349875</c:v>
                </c:pt>
                <c:pt idx="1">
                  <c:v>0.08821008930622705</c:v>
                </c:pt>
                <c:pt idx="2">
                  <c:v>0.092325134375905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925445226753015</c:v>
                </c:pt>
                <c:pt idx="1">
                  <c:v>0.053812112947845006</c:v>
                </c:pt>
                <c:pt idx="2">
                  <c:v>0.0494506521045343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4219746339815053e-07</c:v>
                </c:pt>
                <c:pt idx="1">
                  <c:v>0.08246999779071305</c:v>
                </c:pt>
                <c:pt idx="2">
                  <c:v>0.114080401410855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24188454427544</c:v>
                </c:pt>
                <c:pt idx="1">
                  <c:v>0.05167571968965622</c:v>
                </c:pt>
                <c:pt idx="2">
                  <c:v>0.05904543769131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3929614123250994</c:v>
                </c:pt>
                <c:pt idx="1">
                  <c:v>0.00882568928717068</c:v>
                </c:pt>
                <c:pt idx="2">
                  <c:v>0.0004434827327080790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0848993175456755</c:v>
                </c:pt>
                <c:pt idx="1">
                  <c:v>0.03296376879585135</c:v>
                </c:pt>
                <c:pt idx="2">
                  <c:v>0.0454962272085424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624781086308946</c:v>
                </c:pt>
                <c:pt idx="1">
                  <c:v>0.2847796676361318</c:v>
                </c:pt>
                <c:pt idx="2">
                  <c:v>0.245885691035441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386516385155554</c:v>
                </c:pt>
                <c:pt idx="1">
                  <c:v>0.15566596515588726</c:v>
                </c:pt>
                <c:pt idx="2">
                  <c:v>0.145398998159610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1428810265513</c:v>
                </c:pt>
                <c:pt idx="1">
                  <c:v>0.05518736147981388</c:v>
                </c:pt>
                <c:pt idx="2">
                  <c:v>0.063600643462843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99724896421959</c:v>
                </c:pt>
                <c:pt idx="1">
                  <c:v>0.14298022813380604</c:v>
                </c:pt>
                <c:pt idx="2">
                  <c:v>0.14927012236033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764614736379155</c:v>
                </c:pt>
                <c:pt idx="1">
                  <c:v>0.15803570607740253</c:v>
                </c:pt>
                <c:pt idx="2">
                  <c:v>0.1611294551314006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524881887332546</c:v>
                </c:pt>
                <c:pt idx="1">
                  <c:v>0.06128186354996325</c:v>
                </c:pt>
                <c:pt idx="2">
                  <c:v>0.0569339588323897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5061789107088192e-07</c:v>
                </c:pt>
                <c:pt idx="1">
                  <c:v>0.08294718370327822</c:v>
                </c:pt>
                <c:pt idx="2">
                  <c:v>0.116886372761150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339969432099007</c:v>
                </c:pt>
                <c:pt idx="1">
                  <c:v>0.02385126843764123</c:v>
                </c:pt>
                <c:pt idx="2">
                  <c:v>0.0273979364998100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1860104596594453</c:v>
                </c:pt>
                <c:pt idx="1">
                  <c:v>0.007144598618282403</c:v>
                </c:pt>
                <c:pt idx="2">
                  <c:v>0.000307072971596558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3875797474665127</c:v>
                </c:pt>
                <c:pt idx="1">
                  <c:v>0.028126157207793427</c:v>
                </c:pt>
                <c:pt idx="2">
                  <c:v>0.033189748785423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841144</c:v>
                </c:pt>
                <c:pt idx="1">
                  <c:v>1.46911</c:v>
                </c:pt>
                <c:pt idx="2">
                  <c:v>0.8873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11529</c:v>
                </c:pt>
                <c:pt idx="1">
                  <c:v>1.431889</c:v>
                </c:pt>
                <c:pt idx="2">
                  <c:v>1.1610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3717</c:v>
                </c:pt>
                <c:pt idx="1">
                  <c:v>0.147229</c:v>
                </c:pt>
                <c:pt idx="2">
                  <c:v>0.10327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4.9e-05</c:v>
                </c:pt>
                <c:pt idx="2">
                  <c:v>0.000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03943493003597</c:v>
                </c:pt>
                <c:pt idx="1">
                  <c:v>0.6264835658423167</c:v>
                </c:pt>
                <c:pt idx="2">
                  <c:v>0.65602477597398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797598612803613</c:v>
                </c:pt>
                <c:pt idx="1">
                  <c:v>0.14061112872542803</c:v>
                </c:pt>
                <c:pt idx="2">
                  <c:v>0.1515398608599583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Noxzema Bas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693988378881653</c:v>
                </c:pt>
                <c:pt idx="1">
                  <c:v>0.049200486155146904</c:v>
                </c:pt>
                <c:pt idx="2">
                  <c:v>0.0459870717880533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919790697572843</c:v>
                </c:pt>
                <c:pt idx="1">
                  <c:v>0.04088274149228493</c:v>
                </c:pt>
                <c:pt idx="2">
                  <c:v>0.0362282021090409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68364118668769</c:v>
                </c:pt>
                <c:pt idx="1">
                  <c:v>0.020802420207144366</c:v>
                </c:pt>
                <c:pt idx="2">
                  <c:v>0.02373845810061909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Xtrem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534428764233395</c:v>
                </c:pt>
                <c:pt idx="1">
                  <c:v>0.024357693933629253</c:v>
                </c:pt>
                <c:pt idx="2">
                  <c:v>0.01464117805550794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9819859562380889</c:v>
                </c:pt>
                <c:pt idx="1">
                  <c:v>0.01726986894948214</c:v>
                </c:pt>
                <c:pt idx="2">
                  <c:v>0.01709551670758921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479210253140046</c:v>
                </c:pt>
                <c:pt idx="1">
                  <c:v>0.011866677235256817</c:v>
                </c:pt>
                <c:pt idx="2">
                  <c:v>0.002093625244123870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021229655463961107</c:v>
                </c:pt>
                <c:pt idx="2">
                  <c:v>0.00451415757868335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8699212204066956</c:v>
                </c:pt>
                <c:pt idx="1">
                  <c:v>0.06640245191291481</c:v>
                </c:pt>
                <c:pt idx="2">
                  <c:v>0.0481371535824385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41300876592694</c:v>
                </c:pt>
                <c:pt idx="1">
                  <c:v>0.7635919700022047</c:v>
                </c:pt>
                <c:pt idx="2">
                  <c:v>0.77871290060949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99319860899683</c:v>
                </c:pt>
                <c:pt idx="1">
                  <c:v>0.05331865338390091</c:v>
                </c:pt>
                <c:pt idx="2">
                  <c:v>0.0584752486976471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Noxzema Bas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852310657374691</c:v>
                </c:pt>
                <c:pt idx="1">
                  <c:v>0.04194139504743611</c:v>
                </c:pt>
                <c:pt idx="2">
                  <c:v>0.049104406975673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381929993622241</c:v>
                </c:pt>
                <c:pt idx="1">
                  <c:v>0.0247837950495783</c:v>
                </c:pt>
                <c:pt idx="2">
                  <c:v>0.02480672162459982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737455134561401</c:v>
                </c:pt>
                <c:pt idx="1">
                  <c:v>0.0206538319755719</c:v>
                </c:pt>
                <c:pt idx="2">
                  <c:v>0.01930819155480672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Xtrem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7589998556857488</c:v>
                </c:pt>
                <c:pt idx="1">
                  <c:v>0.008716480311045932</c:v>
                </c:pt>
                <c:pt idx="2">
                  <c:v>0.0064204252564094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6504382963469873</c:v>
                </c:pt>
                <c:pt idx="1">
                  <c:v>0.020076779646342344</c:v>
                </c:pt>
                <c:pt idx="2">
                  <c:v>0.013484183222563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707139831198879</c:v>
                </c:pt>
                <c:pt idx="1">
                  <c:v>0.005503195879141232</c:v>
                </c:pt>
                <c:pt idx="2">
                  <c:v>0.00075123901657476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015419302378098254</c:v>
                </c:pt>
                <c:pt idx="2">
                  <c:v>0.00415028768173269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7884399629438246</c:v>
                </c:pt>
                <c:pt idx="1">
                  <c:v>0.059871968466968774</c:v>
                </c:pt>
                <c:pt idx="2">
                  <c:v>0.0447863953604979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40731982733737</c:v>
                </c:pt>
                <c:pt idx="1">
                  <c:v>0.39518156394236187</c:v>
                </c:pt>
                <c:pt idx="2">
                  <c:v>0.3331897695389333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46809962983404</c:v>
                </c:pt>
                <c:pt idx="1">
                  <c:v>0.29951313024060017</c:v>
                </c:pt>
                <c:pt idx="2">
                  <c:v>0.303963566028664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0141926724628305</c:v>
                </c:pt>
                <c:pt idx="1">
                  <c:v>0.07313884274410096</c:v>
                </c:pt>
                <c:pt idx="2">
                  <c:v>0.129970682771553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938498105919929</c:v>
                </c:pt>
                <c:pt idx="1">
                  <c:v>0.0377628239979708</c:v>
                </c:pt>
                <c:pt idx="2">
                  <c:v>0.04477886912561250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0605870566964122</c:v>
                </c:pt>
                <c:pt idx="1">
                  <c:v>0.035405286143553046</c:v>
                </c:pt>
                <c:pt idx="2">
                  <c:v>0.036546866252518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427405820170989</c:v>
                </c:pt>
                <c:pt idx="1">
                  <c:v>0.02251681043476868</c:v>
                </c:pt>
                <c:pt idx="2">
                  <c:v>0.02260821618667692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c Solei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6947903160749057</c:v>
                </c:pt>
                <c:pt idx="1">
                  <c:v>0.018175224206583008</c:v>
                </c:pt>
                <c:pt idx="2">
                  <c:v>0.0069508909835956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234046054023357</c:v>
                </c:pt>
                <c:pt idx="1">
                  <c:v>0.0114074261143061</c:v>
                </c:pt>
                <c:pt idx="2">
                  <c:v>0.00785077800687022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8090152382009013</c:v>
                </c:pt>
                <c:pt idx="1">
                  <c:v>0.0005846663205701068</c:v>
                </c:pt>
                <c:pt idx="2">
                  <c:v>0.001866801995131338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0674158993660073</c:v>
                </c:pt>
                <c:pt idx="1">
                  <c:v>0.10631422585518527</c:v>
                </c:pt>
                <c:pt idx="2">
                  <c:v>0.1122735591104425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8634535215931487</c:v>
                </c:pt>
                <c:pt idx="1">
                  <c:v>0.4081571219675238</c:v>
                </c:pt>
                <c:pt idx="2">
                  <c:v>0.3378520951343886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93819312013728</c:v>
                </c:pt>
                <c:pt idx="1">
                  <c:v>0.17742253920931053</c:v>
                </c:pt>
                <c:pt idx="2">
                  <c:v>0.190856587408542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7262475958112234</c:v>
                </c:pt>
                <c:pt idx="1">
                  <c:v>0.0718428977879211</c:v>
                </c:pt>
                <c:pt idx="2">
                  <c:v>0.144050758955789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834870780566025</c:v>
                </c:pt>
                <c:pt idx="1">
                  <c:v>0.050418982117988655</c:v>
                </c:pt>
                <c:pt idx="2">
                  <c:v>0.0608849368908707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2540672238008635</c:v>
                </c:pt>
                <c:pt idx="1">
                  <c:v>0.0535407128233704</c:v>
                </c:pt>
                <c:pt idx="2">
                  <c:v>0.062326665684159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0778520950347343</c:v>
                </c:pt>
                <c:pt idx="1">
                  <c:v>0.0190584480888027</c:v>
                </c:pt>
                <c:pt idx="2">
                  <c:v>0.01906894996344858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c Solei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585241636113164</c:v>
                </c:pt>
                <c:pt idx="1">
                  <c:v>0.03641990346254917</c:v>
                </c:pt>
                <c:pt idx="2">
                  <c:v>0.01884411295872716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5476874680178427</c:v>
                </c:pt>
                <c:pt idx="1">
                  <c:v>0.015851522027382776</c:v>
                </c:pt>
                <c:pt idx="2">
                  <c:v>0.00949120155821284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18474038476829647</c:v>
                </c:pt>
                <c:pt idx="1">
                  <c:v>0.0014604212626371568</c:v>
                </c:pt>
                <c:pt idx="2">
                  <c:v>0.004570043117885583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6216564479819082</c:v>
                </c:pt>
                <c:pt idx="1">
                  <c:v>0.16582745125251372</c:v>
                </c:pt>
                <c:pt idx="2">
                  <c:v>0.1520546483279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38361</c:v>
                </c:pt>
                <c:pt idx="1">
                  <c:v>0.583818</c:v>
                </c:pt>
                <c:pt idx="2">
                  <c:v>0.376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25023</c:v>
                </c:pt>
                <c:pt idx="1">
                  <c:v>0.52381</c:v>
                </c:pt>
                <c:pt idx="2">
                  <c:v>0.3437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8562</c:v>
                </c:pt>
                <c:pt idx="1">
                  <c:v>0.149595</c:v>
                </c:pt>
                <c:pt idx="2">
                  <c:v>0.12761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e-06</c:v>
                </c:pt>
                <c:pt idx="1">
                  <c:v>5.4e-05</c:v>
                </c:pt>
                <c:pt idx="2">
                  <c:v>1.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66%</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882751370357886</c:v>
                </c:pt>
                <c:pt idx="1">
                  <c:v>0.6628158978969602</c:v>
                </c:pt>
                <c:pt idx="2">
                  <c:v>0.60980958402350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948219783968737</c:v>
                </c:pt>
                <c:pt idx="1">
                  <c:v>0.11609197905690129</c:v>
                </c:pt>
                <c:pt idx="2">
                  <c:v>0.106413518090980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355259168014496</c:v>
                </c:pt>
                <c:pt idx="1">
                  <c:v>0.07171352263601369</c:v>
                </c:pt>
                <c:pt idx="2">
                  <c:v>0.0591003585690641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576738278313663</c:v>
                </c:pt>
                <c:pt idx="1">
                  <c:v>0.04898432346611616</c:v>
                </c:pt>
                <c:pt idx="2">
                  <c:v>0.0736499794730772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736239901051998</c:v>
                </c:pt>
                <c:pt idx="1">
                  <c:v>0.03565234640876353</c:v>
                </c:pt>
                <c:pt idx="2">
                  <c:v>0.0826275217264270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888522577572231</c:v>
                </c:pt>
                <c:pt idx="1">
                  <c:v>0.03381068784111413</c:v>
                </c:pt>
                <c:pt idx="2">
                  <c:v>0.040230330046176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7529312184538</c:v>
                </c:pt>
                <c:pt idx="1">
                  <c:v>0.021864448713207127</c:v>
                </c:pt>
                <c:pt idx="2">
                  <c:v>0.02120476049256723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19295771874007642</c:v>
                </c:pt>
                <c:pt idx="1">
                  <c:v>0.00163004419654549</c:v>
                </c:pt>
                <c:pt idx="2">
                  <c:v>0.00105149791738861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88423356125294</c:v>
                </c:pt>
                <c:pt idx="1">
                  <c:v>0.007436749784378381</c:v>
                </c:pt>
                <c:pt idx="2">
                  <c:v>0.00591244966081808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269265508713783</c:v>
                </c:pt>
                <c:pt idx="1">
                  <c:v>0.5231668736124434</c:v>
                </c:pt>
                <c:pt idx="2">
                  <c:v>0.42506278246929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363508571239025</c:v>
                </c:pt>
                <c:pt idx="1">
                  <c:v>0.10815980049520538</c:v>
                </c:pt>
                <c:pt idx="2">
                  <c:v>0.094940847824651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206513899603342</c:v>
                </c:pt>
                <c:pt idx="1">
                  <c:v>0.06860899312772652</c:v>
                </c:pt>
                <c:pt idx="2">
                  <c:v>0.05187300663254111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1343579762525378</c:v>
                </c:pt>
                <c:pt idx="1">
                  <c:v>0.0658285624224825</c:v>
                </c:pt>
                <c:pt idx="2">
                  <c:v>0.088252194092214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4317826375201657</c:v>
                </c:pt>
                <c:pt idx="1">
                  <c:v>0.127707337177957</c:v>
                </c:pt>
                <c:pt idx="2">
                  <c:v>0.2361834891507214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314933808957945</c:v>
                </c:pt>
                <c:pt idx="1">
                  <c:v>0.05054895549044405</c:v>
                </c:pt>
                <c:pt idx="2">
                  <c:v>0.0543822326426200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496643717689479</c:v>
                </c:pt>
                <c:pt idx="1">
                  <c:v>0.03388101611596774</c:v>
                </c:pt>
                <c:pt idx="2">
                  <c:v>0.0337742442785116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319937191014711</c:v>
                </c:pt>
                <c:pt idx="1">
                  <c:v>0.004321836771910885</c:v>
                </c:pt>
                <c:pt idx="2">
                  <c:v>0.002589101360116572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827610582498204</c:v>
                </c:pt>
                <c:pt idx="1">
                  <c:v>0.017776624785862553</c:v>
                </c:pt>
                <c:pt idx="2">
                  <c:v>0.012942101549330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074036</c:v>
                </c:pt>
                <c:pt idx="1">
                  <c:v>1.884919</c:v>
                </c:pt>
                <c:pt idx="2">
                  <c:v>1.2538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708258</c:v>
                </c:pt>
                <c:pt idx="1">
                  <c:v>1.694894</c:v>
                </c:pt>
                <c:pt idx="2">
                  <c:v>1.0858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595</c:v>
                </c:pt>
                <c:pt idx="1">
                  <c:v>0.240772</c:v>
                </c:pt>
                <c:pt idx="2">
                  <c:v>0.20565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9e-05</c:v>
                </c:pt>
                <c:pt idx="1">
                  <c:v>6.1e-05</c:v>
                </c:pt>
                <c:pt idx="2">
                  <c:v>1.5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6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661224767278678</c:v>
                </c:pt>
                <c:pt idx="1">
                  <c:v>0.6168616529820833</c:v>
                </c:pt>
                <c:pt idx="2">
                  <c:v>0.031283967272587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9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5144877217347389</c:v>
                </c:pt>
                <c:pt idx="1">
                  <c:v>0.2932024296737679</c:v>
                </c:pt>
                <c:pt idx="2">
                  <c:v>0.941301057944016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33584223995183</c:v>
                </c:pt>
                <c:pt idx="1">
                  <c:v>0.08993366832773567</c:v>
                </c:pt>
                <c:pt idx="2">
                  <c:v>0.02437546818770147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613150879169438e-06</c:v>
                </c:pt>
                <c:pt idx="1">
                  <c:v>2.249016413117327e-06</c:v>
                </c:pt>
                <c:pt idx="2">
                  <c:v>0.00303950659569436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295442225109498</c:v>
                </c:pt>
                <c:pt idx="1">
                  <c:v>0.6832045796556955</c:v>
                </c:pt>
                <c:pt idx="2">
                  <c:v>0.0649681015707612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4487635843965007</c:v>
                </c:pt>
                <c:pt idx="1">
                  <c:v>0.24955910464698589</c:v>
                </c:pt>
                <c:pt idx="2">
                  <c:v>0.8825850683137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999473343127303</c:v>
                </c:pt>
                <c:pt idx="1">
                  <c:v>0.06722999785193257</c:v>
                </c:pt>
                <c:pt idx="2">
                  <c:v>0.0445177419693691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2280473380670466e-05</c:v>
                </c:pt>
                <c:pt idx="1">
                  <c:v>6.3178453860775145e-06</c:v>
                </c:pt>
                <c:pt idx="2">
                  <c:v>0.0079290881461095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75634803478186</c:v>
                </c:pt>
                <c:pt idx="1">
                  <c:v>0.4099111398697608</c:v>
                </c:pt>
                <c:pt idx="2">
                  <c:v>0.46076744838947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43449494803046</c:v>
                </c:pt>
                <c:pt idx="1">
                  <c:v>0.16035428006338084</c:v>
                </c:pt>
                <c:pt idx="2">
                  <c:v>0.1444357198006618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26378959895745</c:v>
                </c:pt>
                <c:pt idx="1">
                  <c:v>0.15149000017037859</c:v>
                </c:pt>
                <c:pt idx="2">
                  <c:v>0.11051045246765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279798613120491</c:v>
                </c:pt>
                <c:pt idx="1">
                  <c:v>0.12999469943188094</c:v>
                </c:pt>
                <c:pt idx="2">
                  <c:v>0.1139471435389369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598270988858062</c:v>
                </c:pt>
                <c:pt idx="1">
                  <c:v>0.09739258543191334</c:v>
                </c:pt>
                <c:pt idx="2">
                  <c:v>0.105769909564605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991114414414993</c:v>
                </c:pt>
                <c:pt idx="1">
                  <c:v>0.03145678563507231</c:v>
                </c:pt>
                <c:pt idx="2">
                  <c:v>0.029250017129600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9725646777261375</c:v>
                </c:pt>
                <c:pt idx="1">
                  <c:v>0.019200495881845265</c:v>
                </c:pt>
                <c:pt idx="2">
                  <c:v>0.0352306764012236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78062965292775</c:v>
                </c:pt>
                <c:pt idx="1">
                  <c:v>0.00019639981015830206</c:v>
                </c:pt>
                <c:pt idx="2">
                  <c:v>8.349753526547322e-0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8.639687712974209e-06</c:v>
                </c:pt>
                <c:pt idx="1">
                  <c:v>3.61370560965065e-06</c:v>
                </c:pt>
                <c:pt idx="2">
                  <c:v>5.13517257294318e-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5805267282096406</c:v>
                </c:pt>
                <c:pt idx="1">
                  <c:v>0.35859481522269865</c:v>
                </c:pt>
                <c:pt idx="2">
                  <c:v>0.400526720215109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111617581178984</c:v>
                </c:pt>
                <c:pt idx="1">
                  <c:v>0.16663927309901416</c:v>
                </c:pt>
                <c:pt idx="2">
                  <c:v>0.14818103663879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219147281089915</c:v>
                </c:pt>
                <c:pt idx="1">
                  <c:v>0.125146853343111</c:v>
                </c:pt>
                <c:pt idx="2">
                  <c:v>0.0714057088579756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170237492808985</c:v>
                </c:pt>
                <c:pt idx="1">
                  <c:v>0.16642229005721337</c:v>
                </c:pt>
                <c:pt idx="2">
                  <c:v>0.1471568689212439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1626872764583997</c:v>
                </c:pt>
                <c:pt idx="1">
                  <c:v>0.10799194018440181</c:v>
                </c:pt>
                <c:pt idx="2">
                  <c:v>0.141228295849046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1509350267733886</c:v>
                </c:pt>
                <c:pt idx="1">
                  <c:v>0.05587716109262785</c:v>
                </c:pt>
                <c:pt idx="2">
                  <c:v>0.05176111580337941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9674670179940895</c:v>
                </c:pt>
                <c:pt idx="1">
                  <c:v>0.019015120469764387</c:v>
                </c:pt>
                <c:pt idx="2">
                  <c:v>0.0396158635469097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8152320020291584</c:v>
                </c:pt>
                <c:pt idx="1">
                  <c:v>0.00029624032054242124</c:v>
                </c:pt>
                <c:pt idx="2">
                  <c:v>0.0001016623203981390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9438676397570174e-05</c:v>
                </c:pt>
                <c:pt idx="1">
                  <c:v>1.6306210626348186e-05</c:v>
                </c:pt>
                <c:pt idx="2">
                  <c:v>2.2727847139101592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188938339750672</c:v>
                </c:pt>
                <c:pt idx="1">
                  <c:v>0.5275954223248965</c:v>
                </c:pt>
                <c:pt idx="2">
                  <c:v>0.534809307941597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482764350676684</c:v>
                </c:pt>
                <c:pt idx="1">
                  <c:v>0.13236736464990723</c:v>
                </c:pt>
                <c:pt idx="2">
                  <c:v>0.1101298510963571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939753658476216</c:v>
                </c:pt>
                <c:pt idx="1">
                  <c:v>0.10906791150660085</c:v>
                </c:pt>
                <c:pt idx="2">
                  <c:v>0.1070230750336258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274627657648572</c:v>
                </c:pt>
                <c:pt idx="1">
                  <c:v>0.08715043599421728</c:v>
                </c:pt>
                <c:pt idx="2">
                  <c:v>0.1005891323663822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0425660844729453</c:v>
                </c:pt>
                <c:pt idx="1">
                  <c:v>0.09095392720195657</c:v>
                </c:pt>
                <c:pt idx="2">
                  <c:v>0.1070689574442578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169364280840438</c:v>
                </c:pt>
                <c:pt idx="1">
                  <c:v>0.03442391013186923</c:v>
                </c:pt>
                <c:pt idx="2">
                  <c:v>0.0351115562461347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711821642512749</c:v>
                </c:pt>
                <c:pt idx="1">
                  <c:v>0.0115348301403028</c:v>
                </c:pt>
                <c:pt idx="2">
                  <c:v>0.000899660536577358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4282740785546611</c:v>
                </c:pt>
                <c:pt idx="1">
                  <c:v>0.003274330241864536</c:v>
                </c:pt>
                <c:pt idx="2">
                  <c:v>3.818921994699337e-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14528761834471735</c:v>
                </c:pt>
                <c:pt idx="1">
                  <c:v>0.003631867808384957</c:v>
                </c:pt>
                <c:pt idx="2">
                  <c:v>0.0043646404130723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8336732936219875</c:v>
                </c:pt>
                <c:pt idx="1">
                  <c:v>0.4134583228661609</c:v>
                </c:pt>
                <c:pt idx="2">
                  <c:v>0.445799095917051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232886126632206</c:v>
                </c:pt>
                <c:pt idx="1">
                  <c:v>0.14849893398773606</c:v>
                </c:pt>
                <c:pt idx="2">
                  <c:v>0.114153138853009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844393687196694</c:v>
                </c:pt>
                <c:pt idx="1">
                  <c:v>0.11979608176898568</c:v>
                </c:pt>
                <c:pt idx="2">
                  <c:v>0.1147257386016211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290712185313364</c:v>
                </c:pt>
                <c:pt idx="1">
                  <c:v>0.09981601141602019</c:v>
                </c:pt>
                <c:pt idx="2">
                  <c:v>0.1157168567119448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1205067678608778</c:v>
                </c:pt>
                <c:pt idx="1">
                  <c:v>0.10849786673184766</c:v>
                </c:pt>
                <c:pt idx="2">
                  <c:v>0.1155967842798117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9165437771008843</c:v>
                </c:pt>
                <c:pt idx="1">
                  <c:v>0.07511853436823991</c:v>
                </c:pt>
                <c:pt idx="2">
                  <c:v>0.084893638729120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5451050112577975</c:v>
                </c:pt>
                <c:pt idx="1">
                  <c:v>0.013680547249023586</c:v>
                </c:pt>
                <c:pt idx="2">
                  <c:v>0.001169491607769866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883143887130255</c:v>
                </c:pt>
                <c:pt idx="1">
                  <c:v>0.00902057339227058</c:v>
                </c:pt>
                <c:pt idx="2">
                  <c:v>6.940603013471016e-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589537718454878</c:v>
                </c:pt>
                <c:pt idx="1">
                  <c:v>0.012113128219715427</c:v>
                </c:pt>
                <c:pt idx="2">
                  <c:v>0.0079383146966574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79761537422706</c:v>
                </c:pt>
                <c:pt idx="1">
                  <c:v>0.5952861970994018</c:v>
                </c:pt>
                <c:pt idx="2">
                  <c:v>0.56729369225934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0412491798224702</c:v>
                </c:pt>
                <c:pt idx="1">
                  <c:v>0.19043764654977532</c:v>
                </c:pt>
                <c:pt idx="2">
                  <c:v>0.176684534462879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294317254198379</c:v>
                </c:pt>
                <c:pt idx="1">
                  <c:v>0.08402524670663361</c:v>
                </c:pt>
                <c:pt idx="2">
                  <c:v>0.0906857225886910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018669711349914</c:v>
                </c:pt>
                <c:pt idx="1">
                  <c:v>0.05373219574006215</c:v>
                </c:pt>
                <c:pt idx="2">
                  <c:v>0.0514988037253345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20658982731039103</c:v>
                </c:pt>
                <c:pt idx="1">
                  <c:v>0.0471674135932164</c:v>
                </c:pt>
                <c:pt idx="2">
                  <c:v>0.0940615860515498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177686932254025</c:v>
                </c:pt>
                <c:pt idx="1">
                  <c:v>0.027093135756519858</c:v>
                </c:pt>
                <c:pt idx="2">
                  <c:v>0.0193989198981462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001245245221777</c:v>
                </c:pt>
                <c:pt idx="1">
                  <c:v>0.0013093896946106286</c:v>
                </c:pt>
                <c:pt idx="2">
                  <c:v>4.820448618493858e-0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1748758044610593</c:v>
                </c:pt>
                <c:pt idx="1">
                  <c:v>0.0007007424076450813</c:v>
                </c:pt>
                <c:pt idx="2">
                  <c:v>1.5494299130873114e-0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559618031635261e-05</c:v>
                </c:pt>
                <c:pt idx="1">
                  <c:v>0.00024803245213521954</c:v>
                </c:pt>
                <c:pt idx="2">
                  <c:v>0.00037037113552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35842465412612</c:v>
                </c:pt>
                <c:pt idx="1">
                  <c:v>0.5380412717117009</c:v>
                </c:pt>
                <c:pt idx="2">
                  <c:v>0.47496631720261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693910561175558</c:v>
                </c:pt>
                <c:pt idx="1">
                  <c:v>0.15758105063716818</c:v>
                </c:pt>
                <c:pt idx="2">
                  <c:v>0.142323702548302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056611052832121</c:v>
                </c:pt>
                <c:pt idx="1">
                  <c:v>0.13681037240368657</c:v>
                </c:pt>
                <c:pt idx="2">
                  <c:v>0.144584192506241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5109772398388365</c:v>
                </c:pt>
                <c:pt idx="1">
                  <c:v>0.04730505606150498</c:v>
                </c:pt>
                <c:pt idx="2">
                  <c:v>0.0464593222876293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2816817885311036</c:v>
                </c:pt>
                <c:pt idx="1">
                  <c:v>0.06957945669142797</c:v>
                </c:pt>
                <c:pt idx="2">
                  <c:v>0.146695946957441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0450690861649765</c:v>
                </c:pt>
                <c:pt idx="1">
                  <c:v>0.04275902985299063</c:v>
                </c:pt>
                <c:pt idx="2">
                  <c:v>0.0419772164246495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5391948365495838</c:v>
                </c:pt>
                <c:pt idx="1">
                  <c:v>0.004664786102324208</c:v>
                </c:pt>
                <c:pt idx="2">
                  <c:v>1.2072687235306332e-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9032861852890194</c:v>
                </c:pt>
                <c:pt idx="1">
                  <c:v>0.0011390697153043398</c:v>
                </c:pt>
                <c:pt idx="2">
                  <c:v>4.587621149416406e-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11604676224421147</c:v>
                </c:pt>
                <c:pt idx="1">
                  <c:v>0.002119906823892235</c:v>
                </c:pt>
                <c:pt idx="2">
                  <c:v>0.00297664176473712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2309055701417647</c:v>
                </c:pt>
                <c:pt idx="1">
                  <c:v>0.40383228569818835</c:v>
                </c:pt>
                <c:pt idx="2">
                  <c:v>0.412997860133479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087790335735895</c:v>
                </c:pt>
                <c:pt idx="1">
                  <c:v>0.19100083777577725</c:v>
                </c:pt>
                <c:pt idx="2">
                  <c:v>0.1763381264353845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123671718439305</c:v>
                </c:pt>
                <c:pt idx="1">
                  <c:v>0.1236694184000091</c:v>
                </c:pt>
                <c:pt idx="2">
                  <c:v>0.1411713592534703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782831366731383</c:v>
                </c:pt>
                <c:pt idx="1">
                  <c:v>0.1134802891309339</c:v>
                </c:pt>
                <c:pt idx="2">
                  <c:v>0.099734208035705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63473143286831</c:v>
                </c:pt>
                <c:pt idx="1">
                  <c:v>0.09804873584460393</c:v>
                </c:pt>
                <c:pt idx="2">
                  <c:v>0.077847912293722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742099581457926</c:v>
                </c:pt>
                <c:pt idx="1">
                  <c:v>0.059962717237836236</c:v>
                </c:pt>
                <c:pt idx="2">
                  <c:v>0.066718027712654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31629761815845643</c:v>
                </c:pt>
                <c:pt idx="1">
                  <c:v>0.00021953167891977622</c:v>
                </c:pt>
                <c:pt idx="2">
                  <c:v>1.7384332978354912e-0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522245191074125e-05</c:v>
                </c:pt>
                <c:pt idx="1">
                  <c:v>0.009786184233731447</c:v>
                </c:pt>
                <c:pt idx="2">
                  <c:v>0.02517512180260466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32567319747963</c:v>
                </c:pt>
                <c:pt idx="1">
                  <c:v>0.31656732723145803</c:v>
                </c:pt>
                <c:pt idx="2">
                  <c:v>0.316842715659641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546892592144297</c:v>
                </c:pt>
                <c:pt idx="1">
                  <c:v>0.13840579645381007</c:v>
                </c:pt>
                <c:pt idx="2">
                  <c:v>0.12558246539423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553863791555999</c:v>
                </c:pt>
                <c:pt idx="1">
                  <c:v>0.1651075335607609</c:v>
                </c:pt>
                <c:pt idx="2">
                  <c:v>0.186151662958397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220318448499908</c:v>
                </c:pt>
                <c:pt idx="1">
                  <c:v>0.16273613783648272</c:v>
                </c:pt>
                <c:pt idx="2">
                  <c:v>0.140521943019014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751995441600646</c:v>
                </c:pt>
                <c:pt idx="1">
                  <c:v>0.08745683598015058</c:v>
                </c:pt>
                <c:pt idx="2">
                  <c:v>0.070469420960740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240102723849153</c:v>
                </c:pt>
                <c:pt idx="1">
                  <c:v>0.11593473656802435</c:v>
                </c:pt>
                <c:pt idx="2">
                  <c:v>0.127028555323744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3491640270123985</c:v>
                </c:pt>
                <c:pt idx="1">
                  <c:v>0.00036822174814168674</c:v>
                </c:pt>
                <c:pt idx="2">
                  <c:v>9.544553706573407e-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011989777857963381</c:v>
                </c:pt>
                <c:pt idx="1">
                  <c:v>0.01342341062117162</c:v>
                </c:pt>
                <c:pt idx="2">
                  <c:v>0.0333077911471563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028657130416552</c:v>
                </c:pt>
                <c:pt idx="1">
                  <c:v>0.3483373116609202</c:v>
                </c:pt>
                <c:pt idx="2">
                  <c:v>0.069967935144291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5220323570643731</c:v>
                </c:pt>
                <c:pt idx="2">
                  <c:v>0.9241030915360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9713428695834476</c:v>
                </c:pt>
                <c:pt idx="1">
                  <c:v>0.1296303312747067</c:v>
                </c:pt>
                <c:pt idx="2">
                  <c:v>0.002873737068183193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0.00305523625143686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13281398441953</c:v>
                </c:pt>
                <c:pt idx="1">
                  <c:v>0.2737404225679127</c:v>
                </c:pt>
                <c:pt idx="2">
                  <c:v>0.13720454446524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505939942728891</c:v>
                </c:pt>
                <c:pt idx="2">
                  <c:v>0.84956252992643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7867186015580465</c:v>
                </c:pt>
                <c:pt idx="1">
                  <c:v>0.22031963470319635</c:v>
                </c:pt>
                <c:pt idx="2">
                  <c:v>0.01031645845122535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0.00291646715709746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87031115678312</c:v>
                </c:pt>
                <c:pt idx="1">
                  <c:v>0.36261328581606356</c:v>
                </c:pt>
                <c:pt idx="2">
                  <c:v>0.373519796742521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75866705082697</c:v>
                </c:pt>
                <c:pt idx="1">
                  <c:v>0.1846962529373305</c:v>
                </c:pt>
                <c:pt idx="2">
                  <c:v>0.1609830187915734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227902314966343</c:v>
                </c:pt>
                <c:pt idx="1">
                  <c:v>0.15363344314024382</c:v>
                </c:pt>
                <c:pt idx="2">
                  <c:v>0.178327243125975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306635411412435</c:v>
                </c:pt>
                <c:pt idx="1">
                  <c:v>0.13073757683909998</c:v>
                </c:pt>
                <c:pt idx="2">
                  <c:v>0.119090825872976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107658225153288</c:v>
                </c:pt>
                <c:pt idx="1">
                  <c:v>0.10511468479414214</c:v>
                </c:pt>
                <c:pt idx="2">
                  <c:v>0.0872770388902399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2002832616254422</c:v>
                </c:pt>
                <c:pt idx="1">
                  <c:v>0.06301866228904746</c:v>
                </c:pt>
                <c:pt idx="2">
                  <c:v>0.0807961834613252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527445475924721</c:v>
                </c:pt>
                <c:pt idx="1">
                  <c:v>0.0001701282976753146</c:v>
                </c:pt>
                <c:pt idx="2">
                  <c:v>0.0</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97103307688108e-05</c:v>
                </c:pt>
                <c:pt idx="1">
                  <c:v>1.596588639722183e-05</c:v>
                </c:pt>
                <c:pt idx="2">
                  <c:v>5.893115387592164e-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93380443691991</c:v>
                </c:pt>
                <c:pt idx="1">
                  <c:v>0.28452759415785067</c:v>
                </c:pt>
                <c:pt idx="2">
                  <c:v>0.281758873082524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467718945293984</c:v>
                </c:pt>
                <c:pt idx="1">
                  <c:v>0.1351873930724892</c:v>
                </c:pt>
                <c:pt idx="2">
                  <c:v>0.109348335611054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18021767636811</c:v>
                </c:pt>
                <c:pt idx="1">
                  <c:v>0.19228777747465356</c:v>
                </c:pt>
                <c:pt idx="2">
                  <c:v>0.2215420528761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9622082414323383</c:v>
                </c:pt>
                <c:pt idx="1">
                  <c:v>0.17982353928370598</c:v>
                </c:pt>
                <c:pt idx="2">
                  <c:v>0.1619955672942792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1321922928169148</c:v>
                </c:pt>
                <c:pt idx="1">
                  <c:v>0.0888968779354112</c:v>
                </c:pt>
                <c:pt idx="2">
                  <c:v>0.0747399502913831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396235422034258</c:v>
                </c:pt>
                <c:pt idx="1">
                  <c:v>0.11898332666548422</c:v>
                </c:pt>
                <c:pt idx="2">
                  <c:v>0.150602239012058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074746235799566</c:v>
                </c:pt>
                <c:pt idx="1">
                  <c:v>0.0002505414479068654</c:v>
                </c:pt>
                <c:pt idx="2">
                  <c:v>0.0</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2719410916370025e-05</c:v>
                </c:pt>
                <c:pt idx="1">
                  <c:v>4.294996249831978e-05</c:v>
                </c:pt>
                <c:pt idx="2">
                  <c:v>1.2981832515477884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745590466086991</c:v>
                </c:pt>
                <c:pt idx="1">
                  <c:v>0.6273810304158199</c:v>
                </c:pt>
                <c:pt idx="2">
                  <c:v>0.0319412130373773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9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5300080591818726</c:v>
                </c:pt>
                <c:pt idx="1">
                  <c:v>0.2880121750679005</c:v>
                </c:pt>
                <c:pt idx="2">
                  <c:v>0.943659249225737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2490669620283643</c:v>
                </c:pt>
                <c:pt idx="1">
                  <c:v>0.08460465703947112</c:v>
                </c:pt>
                <c:pt idx="2">
                  <c:v>0.0209117041293557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249129282591176e-06</c:v>
                </c:pt>
                <c:pt idx="1">
                  <c:v>2.137476808376629e-06</c:v>
                </c:pt>
                <c:pt idx="2">
                  <c:v>0.00348783360752971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350623199857263</c:v>
                </c:pt>
                <c:pt idx="1">
                  <c:v>0.6917829754507355</c:v>
                </c:pt>
                <c:pt idx="2">
                  <c:v>0.066903373172194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4674307261086166</c:v>
                </c:pt>
                <c:pt idx="1">
                  <c:v>0.2449302636930882</c:v>
                </c:pt>
                <c:pt idx="2">
                  <c:v>0.88597963265212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445914935007808</c:v>
                </c:pt>
                <c:pt idx="1">
                  <c:v>0.0632822142427213</c:v>
                </c:pt>
                <c:pt idx="2">
                  <c:v>0.03779223466127215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1099938087012004e-05</c:v>
                </c:pt>
                <c:pt idx="1">
                  <c:v>4.546613454968067e-06</c:v>
                </c:pt>
                <c:pt idx="2">
                  <c:v>0.0093247595144103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8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6897967708151</c:v>
                </c:pt>
                <c:pt idx="1">
                  <c:v>0.9957404961103772</c:v>
                </c:pt>
                <c:pt idx="2">
                  <c:v>0.825630359985621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c:v>
                </c:pt>
                <c:pt idx="2">
                  <c:v>0.1204231500025676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2417128132361568</c:v>
                </c:pt>
                <c:pt idx="1">
                  <c:v>0.0030060179069426097</c:v>
                </c:pt>
                <c:pt idx="2">
                  <c:v>0.05394649001181122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6849041594874582</c:v>
                </c:pt>
                <c:pt idx="1">
                  <c:v>0.0012534859826801702</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70619778027185</c:v>
                </c:pt>
                <c:pt idx="1">
                  <c:v>0.996556519775635</c:v>
                </c:pt>
                <c:pt idx="2">
                  <c:v>0.83533038028945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c:v>
                </c:pt>
                <c:pt idx="2">
                  <c:v>0.1189246565555532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22396807581992768</c:v>
                </c:pt>
                <c:pt idx="1">
                  <c:v>0.0028943708592278597</c:v>
                </c:pt>
                <c:pt idx="2">
                  <c:v>0.04574496315499397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6983414390821798</c:v>
                </c:pt>
                <c:pt idx="1">
                  <c:v>0.0005491093651372004</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50632892716092</c:v>
                </c:pt>
                <c:pt idx="1">
                  <c:v>0.3763519621907013</c:v>
                </c:pt>
                <c:pt idx="2">
                  <c:v>0.44321277270706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56653253121746</c:v>
                </c:pt>
                <c:pt idx="1">
                  <c:v>0.35930932553972894</c:v>
                </c:pt>
                <c:pt idx="2">
                  <c:v>0.333218447591965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712358960338083</c:v>
                </c:pt>
                <c:pt idx="1">
                  <c:v>0.14865326992101238</c:v>
                </c:pt>
                <c:pt idx="2">
                  <c:v>0.123462768944718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97540806467499</c:v>
                </c:pt>
                <c:pt idx="1">
                  <c:v>0.07260094880387617</c:v>
                </c:pt>
                <c:pt idx="2">
                  <c:v>0.06082115727677673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1039033176398058</c:v>
                </c:pt>
                <c:pt idx="1">
                  <c:v>0.024941196778590604</c:v>
                </c:pt>
                <c:pt idx="2">
                  <c:v>0.0237498973317127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kintimat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8544080130233656</c:v>
                </c:pt>
                <c:pt idx="1">
                  <c:v>0.004888732805161874</c:v>
                </c:pt>
                <c:pt idx="2">
                  <c:v>0.00267752917458062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2810601859453817</c:v>
                </c:pt>
                <c:pt idx="1">
                  <c:v>0.013254563960928804</c:v>
                </c:pt>
                <c:pt idx="2">
                  <c:v>0.01285742697318541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8024516061619394</c:v>
                </c:pt>
                <c:pt idx="1">
                  <c:v>0.09386340112337206</c:v>
                </c:pt>
                <c:pt idx="2">
                  <c:v>0.116195606984616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901216998241164</c:v>
                </c:pt>
                <c:pt idx="1">
                  <c:v>0.5991738205095283</c:v>
                </c:pt>
                <c:pt idx="2">
                  <c:v>0.60890275506237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718999188465362</c:v>
                </c:pt>
                <c:pt idx="1">
                  <c:v>0.08280115364320262</c:v>
                </c:pt>
                <c:pt idx="2">
                  <c:v>0.0737294439947800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461275277811678</c:v>
                </c:pt>
                <c:pt idx="1">
                  <c:v>0.1531168493008522</c:v>
                </c:pt>
                <c:pt idx="2">
                  <c:v>0.13356776126905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5125548692647749</c:v>
                </c:pt>
                <c:pt idx="1">
                  <c:v>0.058000083919405816</c:v>
                </c:pt>
                <c:pt idx="2">
                  <c:v>0.0556826690110384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kintimat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73960303927300235</c:v>
                </c:pt>
                <c:pt idx="1">
                  <c:v>0.004361433329945658</c:v>
                </c:pt>
                <c:pt idx="2">
                  <c:v>0.00206691912352283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9178877577711764</c:v>
                </c:pt>
                <c:pt idx="1">
                  <c:v>0.008683258173693342</c:v>
                </c:pt>
                <c:pt idx="2">
                  <c:v>0.0098548445546097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74%</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114150645289338</c:v>
                </c:pt>
                <c:pt idx="1">
                  <c:v>0.7439878667310913</c:v>
                </c:pt>
                <c:pt idx="2">
                  <c:v>0.7622738143254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92147320816423</c:v>
                </c:pt>
                <c:pt idx="1">
                  <c:v>0.1819370553997546</c:v>
                </c:pt>
                <c:pt idx="2">
                  <c:v>0.16350517678770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603883186358495</c:v>
                </c:pt>
                <c:pt idx="1">
                  <c:v>0.05843016343745137</c:v>
                </c:pt>
                <c:pt idx="2">
                  <c:v>0.0593954307473386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24469333288843925</c:v>
                </c:pt>
                <c:pt idx="1">
                  <c:v>0.0012024742482228382</c:v>
                </c:pt>
                <c:pt idx="2">
                  <c:v>0.00548284925311190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438608836164772</c:v>
                </c:pt>
                <c:pt idx="1">
                  <c:v>0.0014877050973166313</c:v>
                </c:pt>
                <c:pt idx="2">
                  <c:v>0.0002306719634770151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907450254848591</c:v>
                </c:pt>
                <c:pt idx="1">
                  <c:v>0.00027960277174372925</c:v>
                </c:pt>
                <c:pt idx="2">
                  <c:v>0.0001296881833982649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2590899580458255</c:v>
                </c:pt>
                <c:pt idx="1">
                  <c:v>0.012675132314419513</c:v>
                </c:pt>
                <c:pt idx="2">
                  <c:v>0.0089823687395590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1</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3.993246</c:v>
                </c:pt>
                <c:pt idx="1">
                  <c:v>13.081027</c:v>
                </c:pt>
                <c:pt idx="2">
                  <c:v>8.6650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8</a:t>
                    </a:r>
                  </a:p>
                </c:rich>
              </c:tx>
              <c:showLegendKey val="0"/>
              <c:showVal val="1"/>
              <c:showCatName val="0"/>
              <c:showSerName val="0"/>
              <c:showPercent val="0"/>
              <c:showBubbleSize val="0"/>
            </c:dLbl>
            <c:dLbl>
              <c:idx val="2"/>
              <c:tx>
                <c:rich>
                  <a:bodyPr/>
                  <a:lstStyle/>
                  <a:p>
                    <a:r>
                      <a:rPr>
                        <a:solidFill>
                          <a:srgbClr val="FFFFFF"/>
                        </a:solidFill>
                      </a:rPr>
                      <a:t>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9.726117</c:v>
                </c:pt>
                <c:pt idx="1">
                  <c:v>10.787187</c:v>
                </c:pt>
                <c:pt idx="2">
                  <c:v>7.3724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883853</c:v>
                </c:pt>
                <c:pt idx="1">
                  <c:v>2.857593</c:v>
                </c:pt>
                <c:pt idx="2">
                  <c:v>2.1316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0051</c:v>
                </c:pt>
                <c:pt idx="1">
                  <c:v>0.559127</c:v>
                </c:pt>
                <c:pt idx="2">
                  <c:v>0.77468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2e-05</c:v>
                </c:pt>
                <c:pt idx="1">
                  <c:v>8e-06</c:v>
                </c:pt>
                <c:pt idx="2">
                  <c:v>4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318036731768166</c:v>
                </c:pt>
                <c:pt idx="1">
                  <c:v>0.5744737906180757</c:v>
                </c:pt>
                <c:pt idx="2">
                  <c:v>0.60001399470379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150618579774386</c:v>
                </c:pt>
                <c:pt idx="1">
                  <c:v>0.287552325328263</c:v>
                </c:pt>
                <c:pt idx="2">
                  <c:v>0.265010773416269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254237640631879</c:v>
                </c:pt>
                <c:pt idx="1">
                  <c:v>0.10660544199884463</c:v>
                </c:pt>
                <c:pt idx="2">
                  <c:v>0.1087445022441398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2328638345469145</c:v>
                </c:pt>
                <c:pt idx="1">
                  <c:v>0.0005375769576405029</c:v>
                </c:pt>
                <c:pt idx="2">
                  <c:v>0.003818588162947694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397898085414617</c:v>
                </c:pt>
                <c:pt idx="1">
                  <c:v>0.001563879398047568</c:v>
                </c:pt>
                <c:pt idx="2">
                  <c:v>0.000338792938246446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4839517013784212</c:v>
                </c:pt>
                <c:pt idx="1">
                  <c:v>0.00027017211407749387</c:v>
                </c:pt>
                <c:pt idx="2">
                  <c:v>6.595002154458388e-0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4096402916643455</c:v>
                </c:pt>
                <c:pt idx="1">
                  <c:v>0.028996813585051136</c:v>
                </c:pt>
                <c:pt idx="2">
                  <c:v>0.022007398513059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253511088900007</c:v>
                </c:pt>
                <c:pt idx="1">
                  <c:v>0.3758836845746165</c:v>
                </c:pt>
                <c:pt idx="2">
                  <c:v>0.39351553884529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82521107115468</c:v>
                </c:pt>
                <c:pt idx="1">
                  <c:v>0.13789115743608</c:v>
                </c:pt>
                <c:pt idx="2">
                  <c:v>0.1056357072791769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42968192068796</c:v>
                </c:pt>
                <c:pt idx="1">
                  <c:v>0.12240797535219881</c:v>
                </c:pt>
                <c:pt idx="2">
                  <c:v>0.121133848011275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641428697051319</c:v>
                </c:pt>
                <c:pt idx="1">
                  <c:v>0.10497916999666711</c:v>
                </c:pt>
                <c:pt idx="2">
                  <c:v>0.1273006881811027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262495430766525</c:v>
                </c:pt>
                <c:pt idx="1">
                  <c:v>0.08561915168095352</c:v>
                </c:pt>
                <c:pt idx="2">
                  <c:v>0.0915141039032191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024304830759112</c:v>
                </c:pt>
                <c:pt idx="1">
                  <c:v>0.0658877357062501</c:v>
                </c:pt>
                <c:pt idx="2">
                  <c:v>0.05752244316068564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7273309757076667</c:v>
                </c:pt>
                <c:pt idx="1">
                  <c:v>0.05923933256461487</c:v>
                </c:pt>
                <c:pt idx="2">
                  <c:v>0.0502412611215041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2180139160322468</c:v>
                </c:pt>
                <c:pt idx="1">
                  <c:v>0.012149409236701223</c:v>
                </c:pt>
                <c:pt idx="2">
                  <c:v>0.00939946840519796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maz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922946639617037</c:v>
                </c:pt>
                <c:pt idx="1">
                  <c:v>0.01219730186963641</c:v>
                </c:pt>
                <c:pt idx="2">
                  <c:v>0.0121037965485462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8674968478543809</c:v>
                </c:pt>
                <c:pt idx="1">
                  <c:v>0.023745081582281436</c:v>
                </c:pt>
                <c:pt idx="2">
                  <c:v>0.03163314454400028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8400019465462245</c:v>
                </c:pt>
                <c:pt idx="1">
                  <c:v>0.24489365826974635</c:v>
                </c:pt>
                <c:pt idx="2">
                  <c:v>0.251546190109660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651923628629197</c:v>
                </c:pt>
                <c:pt idx="1">
                  <c:v>0.1062750451326959</c:v>
                </c:pt>
                <c:pt idx="2">
                  <c:v>0.078747414221079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52599965601647</c:v>
                </c:pt>
                <c:pt idx="1">
                  <c:v>0.13434255768697764</c:v>
                </c:pt>
                <c:pt idx="2">
                  <c:v>0.138054809515692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2069633650513786</c:v>
                </c:pt>
                <c:pt idx="1">
                  <c:v>0.11620319470761621</c:v>
                </c:pt>
                <c:pt idx="2">
                  <c:v>0.15549367196149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7851868183684394</c:v>
                </c:pt>
                <c:pt idx="1">
                  <c:v>0.17201890183700017</c:v>
                </c:pt>
                <c:pt idx="2">
                  <c:v>0.1763670682834720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9208053993116465</c:v>
                </c:pt>
                <c:pt idx="1">
                  <c:v>0.08157364282935477</c:v>
                </c:pt>
                <c:pt idx="2">
                  <c:v>0.0610186577376468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9164904614842977</c:v>
                </c:pt>
                <c:pt idx="1">
                  <c:v>0.07442501659167818</c:v>
                </c:pt>
                <c:pt idx="2">
                  <c:v>0.0643077224650033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378094292596466</c:v>
                </c:pt>
                <c:pt idx="1">
                  <c:v>0.015088075532428415</c:v>
                </c:pt>
                <c:pt idx="2">
                  <c:v>0.01183762890620607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maz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315534088890755</c:v>
                </c:pt>
                <c:pt idx="1">
                  <c:v>0.027984445463083246</c:v>
                </c:pt>
                <c:pt idx="2">
                  <c:v>0.02810408572136483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2966387117096525</c:v>
                </c:pt>
                <c:pt idx="1">
                  <c:v>0.027195461949419138</c:v>
                </c:pt>
                <c:pt idx="2">
                  <c:v>0.034522751078380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45.5</a:t>
                    </a:r>
                  </a:p>
                </c:rich>
              </c:tx>
              <c:showLegendKey val="0"/>
              <c:showVal val="1"/>
              <c:showCatName val="0"/>
              <c:showSerName val="0"/>
              <c:showPercent val="0"/>
              <c:showBubbleSize val="0"/>
            </c:dLbl>
            <c:dLbl>
              <c:idx val="1"/>
              <c:tx>
                <c:rich>
                  <a:bodyPr/>
                  <a:lstStyle/>
                  <a:p>
                    <a:r>
                      <a:rPr>
                        <a:solidFill>
                          <a:srgbClr val="FFFFFF"/>
                        </a:solidFill>
                      </a:rPr>
                      <a:t>42.9</a:t>
                    </a:r>
                  </a:p>
                </c:rich>
              </c:tx>
              <c:showLegendKey val="0"/>
              <c:showVal val="1"/>
              <c:showCatName val="0"/>
              <c:showSerName val="0"/>
              <c:showPercent val="0"/>
              <c:showBubbleSize val="0"/>
            </c:dLbl>
            <c:dLbl>
              <c:idx val="2"/>
              <c:tx>
                <c:rich>
                  <a:bodyPr/>
                  <a:lstStyle/>
                  <a:p>
                    <a:r>
                      <a:rPr>
                        <a:solidFill>
                          <a:srgbClr val="FFFFFF"/>
                        </a:solidFill>
                      </a:rPr>
                      <a:t>2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5.493339</c:v>
                </c:pt>
                <c:pt idx="1">
                  <c:v>42.92208</c:v>
                </c:pt>
                <c:pt idx="2">
                  <c:v>29.0481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31.6</a:t>
                    </a:r>
                  </a:p>
                </c:rich>
              </c:tx>
              <c:showLegendKey val="0"/>
              <c:showVal val="1"/>
              <c:showCatName val="0"/>
              <c:showSerName val="0"/>
              <c:showPercent val="0"/>
              <c:showBubbleSize val="0"/>
            </c:dLbl>
            <c:dLbl>
              <c:idx val="1"/>
              <c:tx>
                <c:rich>
                  <a:bodyPr/>
                  <a:lstStyle/>
                  <a:p>
                    <a:r>
                      <a:rPr>
                        <a:solidFill>
                          <a:srgbClr val="FFFFFF"/>
                        </a:solidFill>
                      </a:rPr>
                      <a:t>34.3</a:t>
                    </a:r>
                  </a:p>
                </c:rich>
              </c:tx>
              <c:showLegendKey val="0"/>
              <c:showVal val="1"/>
              <c:showCatName val="0"/>
              <c:showSerName val="0"/>
              <c:showPercent val="0"/>
              <c:showBubbleSize val="0"/>
            </c:dLbl>
            <c:dLbl>
              <c:idx val="2"/>
              <c:tx>
                <c:rich>
                  <a:bodyPr/>
                  <a:lstStyle/>
                  <a:p>
                    <a:r>
                      <a:rPr>
                        <a:solidFill>
                          <a:srgbClr val="FFFFFF"/>
                        </a:solidFill>
                      </a:rPr>
                      <a:t>2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1.564425</c:v>
                </c:pt>
                <c:pt idx="1">
                  <c:v>34.299924</c:v>
                </c:pt>
                <c:pt idx="2">
                  <c:v>22.4076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641589</c:v>
                </c:pt>
                <c:pt idx="1">
                  <c:v>4.624919</c:v>
                </c:pt>
                <c:pt idx="2">
                  <c:v>3.43029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14</c:v>
                </c:pt>
                <c:pt idx="1">
                  <c:v>1.289983</c:v>
                </c:pt>
                <c:pt idx="2">
                  <c:v>1.80611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1e-05</c:v>
                </c:pt>
                <c:pt idx="1">
                  <c:v>8e-06</c:v>
                </c:pt>
                <c:pt idx="2">
                  <c:v>4e-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307593894500592</c:v>
                </c:pt>
                <c:pt idx="1">
                  <c:v>0.5511128866166584</c:v>
                </c:pt>
                <c:pt idx="2">
                  <c:v>0.61376658524411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51664785105728</c:v>
                </c:pt>
                <c:pt idx="1">
                  <c:v>0.24338236930801754</c:v>
                </c:pt>
                <c:pt idx="2">
                  <c:v>0.21165787199718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89075186095765</c:v>
                </c:pt>
                <c:pt idx="1">
                  <c:v>0.14457024165303659</c:v>
                </c:pt>
                <c:pt idx="2">
                  <c:v>0.1213629715063658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ilk Effect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7629982018641116</c:v>
                </c:pt>
                <c:pt idx="1">
                  <c:v>0.031236271235287157</c:v>
                </c:pt>
                <c:pt idx="2">
                  <c:v>0.019706568582453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7115302301688143</c:v>
                </c:pt>
                <c:pt idx="1">
                  <c:v>0.002784036583596326</c:v>
                </c:pt>
                <c:pt idx="2">
                  <c:v>0.00145666370722920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6825101180981652</c:v>
                </c:pt>
                <c:pt idx="1">
                  <c:v>0.02691419460340407</c:v>
                </c:pt>
                <c:pt idx="2">
                  <c:v>0.0320493389626517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7519710485916747</c:v>
                </c:pt>
                <c:pt idx="1">
                  <c:v>0.10400816039689621</c:v>
                </c:pt>
                <c:pt idx="2">
                  <c:v>0.1512092610946724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15648867773191</c:v>
                </c:pt>
                <c:pt idx="1">
                  <c:v>0.7130397044320383</c:v>
                </c:pt>
                <c:pt idx="2">
                  <c:v>0.677830928744732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792744049260574</c:v>
                </c:pt>
                <c:pt idx="1">
                  <c:v>0.12998118481526746</c:v>
                </c:pt>
                <c:pt idx="2">
                  <c:v>0.1211078519325334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ilk Effect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6020131937606354</c:v>
                </c:pt>
                <c:pt idx="1">
                  <c:v>0.012973616351028835</c:v>
                </c:pt>
                <c:pt idx="2">
                  <c:v>0.00896037356223692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41554411574763164</c:v>
                </c:pt>
                <c:pt idx="1">
                  <c:v>0.0030217166251360447</c:v>
                </c:pt>
                <c:pt idx="2">
                  <c:v>0.001338000563401642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4790910821681766</c:v>
                </c:pt>
                <c:pt idx="1">
                  <c:v>0.03697561737963312</c:v>
                </c:pt>
                <c:pt idx="2">
                  <c:v>0.039553584102422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80%</a:t>
                    </a:r>
                  </a:p>
                </c:rich>
              </c:tx>
              <c:showLegendKey val="0"/>
              <c:showVal val="1"/>
              <c:showCatName val="0"/>
              <c:showSerName val="0"/>
              <c:showPercent val="0"/>
              <c:showBubbleSize val="0"/>
            </c:dLbl>
            <c:dLbl>
              <c:idx val="1"/>
              <c:tx>
                <c:rich>
                  <a:bodyPr/>
                  <a:lstStyle/>
                  <a:p>
                    <a:r>
                      <a:rPr sz="800">
                        <a:solidFill>
                          <a:srgbClr val="FFFFFF"/>
                        </a:solidFill>
                        <a:latin typeface="Nexa Book"/>
                      </a:rPr>
                      <a:t>82%</a:t>
                    </a:r>
                  </a:p>
                </c:rich>
              </c:tx>
              <c:showLegendKey val="0"/>
              <c:showVal val="1"/>
              <c:showCatName val="0"/>
              <c:showSerName val="0"/>
              <c:showPercent val="0"/>
              <c:showBubbleSize val="0"/>
            </c:dLbl>
            <c:dLbl>
              <c:idx val="2"/>
              <c:tx>
                <c:rich>
                  <a:bodyPr/>
                  <a:lstStyle/>
                  <a:p>
                    <a:r>
                      <a:rPr sz="800">
                        <a:solidFill>
                          <a:srgbClr val="FFFFFF"/>
                        </a:solidFill>
                        <a:latin typeface="Nexa Book"/>
                      </a:rPr>
                      <a:t>8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980940468448782</c:v>
                </c:pt>
                <c:pt idx="1">
                  <c:v>0.820067660554084</c:v>
                </c:pt>
                <c:pt idx="2">
                  <c:v>0.837379724256052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228648794729836</c:v>
                </c:pt>
                <c:pt idx="1">
                  <c:v>0.1708829522051996</c:v>
                </c:pt>
                <c:pt idx="2">
                  <c:v>0.148803973604934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9569301896518737</c:v>
                </c:pt>
                <c:pt idx="1">
                  <c:v>0.0007300030058353831</c:v>
                </c:pt>
                <c:pt idx="2">
                  <c:v>0.007192485883729362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3460006594060166</c:v>
                </c:pt>
                <c:pt idx="1">
                  <c:v>0.0013951676740261991</c:v>
                </c:pt>
                <c:pt idx="2">
                  <c:v>0.00169055541658947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7427514293849766</c:v>
                </c:pt>
                <c:pt idx="1">
                  <c:v>0.0008942847897532827</c:v>
                </c:pt>
                <c:pt idx="2">
                  <c:v>0.0013708983880815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7485183522845989</c:v>
                </c:pt>
                <c:pt idx="1">
                  <c:v>0.006029931771101567</c:v>
                </c:pt>
                <c:pt idx="2">
                  <c:v>0.0035623624506119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33615202728698</c:v>
                </c:pt>
                <c:pt idx="1">
                  <c:v>0.6488312448832054</c:v>
                </c:pt>
                <c:pt idx="2">
                  <c:v>0.69031814615355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102457107129282</c:v>
                </c:pt>
                <c:pt idx="1">
                  <c:v>0.34416829456313675</c:v>
                </c:pt>
                <c:pt idx="2">
                  <c:v>0.2977348846225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7714054361743026</c:v>
                </c:pt>
                <c:pt idx="1">
                  <c:v>0.0008448353743569987</c:v>
                </c:pt>
                <c:pt idx="2">
                  <c:v>0.00707320797244177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3489452165716973</c:v>
                </c:pt>
                <c:pt idx="1">
                  <c:v>0.001573164983626632</c:v>
                </c:pt>
                <c:pt idx="2">
                  <c:v>0.001880729137010771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3774379176340814</c:v>
                </c:pt>
                <c:pt idx="1">
                  <c:v>0.0004985397819236848</c:v>
                </c:pt>
                <c:pt idx="2">
                  <c:v>0.000709857092495020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4809031138736478</c:v>
                </c:pt>
                <c:pt idx="1">
                  <c:v>0.004083920413750558</c:v>
                </c:pt>
                <c:pt idx="2">
                  <c:v>0.0022831750219939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46397564700525</c:v>
                </c:pt>
                <c:pt idx="1">
                  <c:v>0.5936164641396862</c:v>
                </c:pt>
                <c:pt idx="2">
                  <c:v>0.68145233094098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aisy</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139550752989542</c:v>
                </c:pt>
                <c:pt idx="1">
                  <c:v>0.3843100029176502</c:v>
                </c:pt>
                <c:pt idx="2">
                  <c:v>0.295408953843580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kintimat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5098854032556183</c:v>
                </c:pt>
                <c:pt idx="1">
                  <c:v>4.4050264070456494e-05</c:v>
                </c:pt>
                <c:pt idx="2">
                  <c:v>0.0</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8952828277376575</c:v>
                </c:pt>
                <c:pt idx="1">
                  <c:v>0.02202948267859323</c:v>
                </c:pt>
                <c:pt idx="2">
                  <c:v>0.0231387152154343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74496088191321</c:v>
                </c:pt>
                <c:pt idx="1">
                  <c:v>0.39621316301334486</c:v>
                </c:pt>
                <c:pt idx="2">
                  <c:v>0.36859926064557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aisy</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170392341701342</c:v>
                </c:pt>
                <c:pt idx="1">
                  <c:v>0.5945813427565878</c:v>
                </c:pt>
                <c:pt idx="2">
                  <c:v>0.61759157612110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kintimat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9186595975910704</c:v>
                </c:pt>
                <c:pt idx="1">
                  <c:v>9.720590211365658e-05</c:v>
                </c:pt>
                <c:pt idx="2">
                  <c:v>0.0</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45924974131426365</c:v>
                </c:pt>
                <c:pt idx="1">
                  <c:v>0.009108288327953653</c:v>
                </c:pt>
                <c:pt idx="2">
                  <c:v>0.0138091632333198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98%</a:t>
                    </a:r>
                  </a:p>
                </c:rich>
              </c:tx>
              <c:showLegendKey val="0"/>
              <c:showVal val="1"/>
              <c:showCatName val="0"/>
              <c:showSerName val="0"/>
              <c:showPercent val="0"/>
              <c:showBubbleSize val="0"/>
            </c:dLbl>
            <c:dLbl>
              <c:idx val="2"/>
              <c:tx>
                <c:rich>
                  <a:bodyPr/>
                  <a:lstStyle/>
                  <a:p>
                    <a:r>
                      <a:rPr sz="800">
                        <a:solidFill>
                          <a:srgbClr val="FFFFFF"/>
                        </a:solidFill>
                        <a:latin typeface="Nexa Book"/>
                      </a:rPr>
                      <a:t>9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343018060501073</c:v>
                </c:pt>
                <c:pt idx="1">
                  <c:v>0.9812402434940741</c:v>
                </c:pt>
                <c:pt idx="2">
                  <c:v>0.95617078171730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819608805346417</c:v>
                </c:pt>
                <c:pt idx="1">
                  <c:v>0.014446660401929188</c:v>
                </c:pt>
                <c:pt idx="2">
                  <c:v>0.043234103471171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4215435132751022</c:v>
                </c:pt>
                <c:pt idx="1">
                  <c:v>0.0021055570188922993</c:v>
                </c:pt>
                <c:pt idx="2">
                  <c:v>4.684122999239936e-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162497460037963</c:v>
                </c:pt>
                <c:pt idx="1">
                  <c:v>0.0010617295611628922</c:v>
                </c:pt>
                <c:pt idx="2">
                  <c:v>2.1611297099497556e-0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6616961632979624</c:v>
                </c:pt>
                <c:pt idx="1">
                  <c:v>0.0011458095239414978</c:v>
                </c:pt>
                <c:pt idx="2">
                  <c:v>0.00054611245182125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006320444290138</c:v>
                </c:pt>
                <c:pt idx="1">
                  <c:v>0.9778616992254815</c:v>
                </c:pt>
                <c:pt idx="2">
                  <c:v>0.95582651784496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179572828852261</c:v>
                </c:pt>
                <c:pt idx="1">
                  <c:v>0.010491755795977983</c:v>
                </c:pt>
                <c:pt idx="2">
                  <c:v>0.042205754602390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780046444810215</c:v>
                </c:pt>
                <c:pt idx="1">
                  <c:v>0.004036780365244003</c:v>
                </c:pt>
                <c:pt idx="2">
                  <c:v>7.274937190130166e-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9267069542996538</c:v>
                </c:pt>
                <c:pt idx="1">
                  <c:v>0.0017556893259253188</c:v>
                </c:pt>
                <c:pt idx="2">
                  <c:v>6.989022628072648e-0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0504693291364926</c:v>
                </c:pt>
                <c:pt idx="1">
                  <c:v>0.005854075287371162</c:v>
                </c:pt>
                <c:pt idx="2">
                  <c:v>0.001887989158119806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97%</a:t>
                    </a:r>
                  </a:p>
                </c:rich>
              </c:tx>
              <c:showLegendKey val="0"/>
              <c:showVal val="1"/>
              <c:showCatName val="0"/>
              <c:showSerName val="0"/>
              <c:showPercent val="0"/>
              <c:showBubbleSize val="0"/>
            </c:dLbl>
            <c:dLbl>
              <c:idx val="1"/>
              <c:tx>
                <c:rich>
                  <a:bodyPr/>
                  <a:lstStyle/>
                  <a:p>
                    <a:r>
                      <a:rPr sz="800">
                        <a:solidFill>
                          <a:srgbClr val="FFFFFF"/>
                        </a:solidFill>
                        <a:latin typeface="Nexa Book"/>
                      </a:rPr>
                      <a:t>99%</a:t>
                    </a:r>
                  </a:p>
                </c:rich>
              </c:tx>
              <c:showLegendKey val="0"/>
              <c:showVal val="1"/>
              <c:showCatName val="0"/>
              <c:showSerName val="0"/>
              <c:showPercent val="0"/>
              <c:showBubbleSize val="0"/>
            </c:dLbl>
            <c:dLbl>
              <c:idx val="2"/>
              <c:tx>
                <c:rich>
                  <a:bodyPr/>
                  <a:lstStyle/>
                  <a:p>
                    <a:r>
                      <a:rPr sz="800">
                        <a:solidFill>
                          <a:srgbClr val="FFFFFF"/>
                        </a:solidFill>
                        <a:latin typeface="Nexa Book"/>
                      </a:rPr>
                      <a:t>9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6237439386162</c:v>
                </c:pt>
                <c:pt idx="1">
                  <c:v>0.9933841065482344</c:v>
                </c:pt>
                <c:pt idx="2">
                  <c:v>0.98635439383882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Noxzema Bas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837625606138381</c:v>
                </c:pt>
                <c:pt idx="1">
                  <c:v>0.00032962109901593303</c:v>
                </c:pt>
                <c:pt idx="2">
                  <c:v>4.6356290232518934e-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6286272352749683</c:v>
                </c:pt>
                <c:pt idx="2">
                  <c:v>0.0135992498709398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37516176438332</c:v>
                </c:pt>
                <c:pt idx="1">
                  <c:v>0.7423902195608783</c:v>
                </c:pt>
                <c:pt idx="2">
                  <c:v>0.66130669813132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Noxzema Bas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62483823561668</c:v>
                </c:pt>
                <c:pt idx="1">
                  <c:v>0.005073186959414504</c:v>
                </c:pt>
                <c:pt idx="2">
                  <c:v>0.000411601679334851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25253659347970725</c:v>
                </c:pt>
                <c:pt idx="2">
                  <c:v>0.338281700189336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334476</c:v>
                </c:pt>
                <c:pt idx="1">
                  <c:v>2.776071</c:v>
                </c:pt>
                <c:pt idx="2">
                  <c:v>1.76604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83473</c:v>
                </c:pt>
                <c:pt idx="1">
                  <c:v>0.740699</c:v>
                </c:pt>
                <c:pt idx="2">
                  <c:v>0.5529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3443</c:v>
                </c:pt>
                <c:pt idx="1">
                  <c:v>0.27511</c:v>
                </c:pt>
                <c:pt idx="2">
                  <c:v>0.2587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1818</c:v>
                </c:pt>
                <c:pt idx="1">
                  <c:v>0.242384</c:v>
                </c:pt>
                <c:pt idx="2">
                  <c:v>0.12897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684034</c:v>
                </c:pt>
                <c:pt idx="1">
                  <c:v>0.79986</c:v>
                </c:pt>
                <c:pt idx="2">
                  <c:v>0.59191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6.9</a:t>
                    </a:r>
                  </a:p>
                </c:rich>
              </c:tx>
              <c:showLegendKey val="0"/>
              <c:showVal val="1"/>
              <c:showCatName val="0"/>
              <c:showSerName val="0"/>
              <c:showPercent val="0"/>
              <c:showBubbleSize val="0"/>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927868</c:v>
                </c:pt>
                <c:pt idx="1">
                  <c:v>7.258595</c:v>
                </c:pt>
                <c:pt idx="2">
                  <c:v>4.59021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428213</c:v>
                </c:pt>
                <c:pt idx="1">
                  <c:v>3.372864</c:v>
                </c:pt>
                <c:pt idx="2">
                  <c:v>2.1476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9301</c:v>
                </c:pt>
                <c:pt idx="1">
                  <c:v>1.016866</c:v>
                </c:pt>
                <c:pt idx="2">
                  <c:v>0.9916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18356</c:v>
                </c:pt>
                <c:pt idx="1">
                  <c:v>0.369206</c:v>
                </c:pt>
                <c:pt idx="2">
                  <c:v>0.190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849704</c:v>
                </c:pt>
                <c:pt idx="1">
                  <c:v>1.902425</c:v>
                </c:pt>
                <c:pt idx="2">
                  <c:v>1.6734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83%</a:t>
                    </a:r>
                  </a:p>
                </c:rich>
              </c:tx>
              <c:showLegendKey val="0"/>
              <c:showVal val="1"/>
              <c:showCatName val="0"/>
              <c:showSerName val="0"/>
              <c:showPercent val="0"/>
              <c:showBubbleSize val="0"/>
            </c:dLbl>
            <c:dLbl>
              <c:idx val="1"/>
              <c:tx>
                <c:rich>
                  <a:bodyPr/>
                  <a:lstStyle/>
                  <a:p>
                    <a:r>
                      <a:rPr sz="800">
                        <a:solidFill>
                          <a:srgbClr val="FFFFFF"/>
                        </a:solidFill>
                        <a:latin typeface="Nexa Book"/>
                      </a:rPr>
                      <a:t>86%</a:t>
                    </a:r>
                  </a:p>
                </c:rich>
              </c:tx>
              <c:showLegendKey val="0"/>
              <c:showVal val="1"/>
              <c:showCatName val="0"/>
              <c:showSerName val="0"/>
              <c:showPercent val="0"/>
              <c:showBubbleSize val="0"/>
            </c:dLbl>
            <c:dLbl>
              <c:idx val="2"/>
              <c:tx>
                <c:rich>
                  <a:bodyPr/>
                  <a:lstStyle/>
                  <a:p>
                    <a:r>
                      <a:rPr sz="800">
                        <a:solidFill>
                          <a:srgbClr val="FFFFFF"/>
                        </a:solidFill>
                        <a:latin typeface="Nexa Book"/>
                      </a:rPr>
                      <a:t>8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310518316854328</c:v>
                </c:pt>
                <c:pt idx="1">
                  <c:v>0.8560206177474656</c:v>
                </c:pt>
                <c:pt idx="2">
                  <c:v>0.874363209358903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812781808212568</c:v>
                </c:pt>
                <c:pt idx="1">
                  <c:v>0.14238192182545722</c:v>
                </c:pt>
                <c:pt idx="2">
                  <c:v>0.117206739099127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36480067347816644</c:v>
                </c:pt>
                <c:pt idx="1">
                  <c:v>9.81382567182338e-05</c:v>
                </c:pt>
                <c:pt idx="2">
                  <c:v>0.00678382225919794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475495441940303</c:v>
                </c:pt>
                <c:pt idx="1">
                  <c:v>0.0014939315813894568</c:v>
                </c:pt>
                <c:pt idx="2">
                  <c:v>0.001627232451237355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856417375950027e-06</c:v>
                </c:pt>
                <c:pt idx="1">
                  <c:v>1.6984047438069055e-06</c:v>
                </c:pt>
                <c:pt idx="2">
                  <c:v>2.246411955130949e-0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4.143597393308008e-06</c:v>
                </c:pt>
                <c:pt idx="1">
                  <c:v>3.692184225667186e-06</c:v>
                </c:pt>
                <c:pt idx="2">
                  <c:v>1.6750419578476425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265592019527171</c:v>
                </c:pt>
                <c:pt idx="1">
                  <c:v>0.7009706145167619</c:v>
                </c:pt>
                <c:pt idx="2">
                  <c:v>0.747399518338441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727048473620477</c:v>
                </c:pt>
                <c:pt idx="1">
                  <c:v>0.2971867225610549</c:v>
                </c:pt>
                <c:pt idx="2">
                  <c:v>0.2441439267516204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279653168573166</c:v>
                </c:pt>
                <c:pt idx="1">
                  <c:v>0.00012329151095172492</c:v>
                </c:pt>
                <c:pt idx="2">
                  <c:v>0.00660707222458301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511996724432794</c:v>
                </c:pt>
                <c:pt idx="1">
                  <c:v>0.0017137520022289764</c:v>
                </c:pt>
                <c:pt idx="2">
                  <c:v>0.001834443482789837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5893811904922776e-06</c:v>
                </c:pt>
                <c:pt idx="1">
                  <c:v>1.25807664236454e-06</c:v>
                </c:pt>
                <c:pt idx="2">
                  <c:v>1.3569205321751866e-0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5084630282893942e-06</c:v>
                </c:pt>
                <c:pt idx="1">
                  <c:v>4.361332360197072e-06</c:v>
                </c:pt>
                <c:pt idx="2">
                  <c:v>1.3682282032766465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8%</a:t>
                    </a:r>
                  </a:p>
                </c:rich>
              </c:tx>
              <c:showLegendKey val="0"/>
              <c:showVal val="1"/>
              <c:showCatName val="0"/>
              <c:showSerName val="0"/>
              <c:showPercent val="0"/>
              <c:showBubbleSize val="0"/>
            </c:dLbl>
            <c:dLbl>
              <c:idx val="2"/>
              <c:tx>
                <c:rich>
                  <a:bodyPr/>
                  <a:lstStyle/>
                  <a:p>
                    <a:r>
                      <a:rPr sz="800">
                        <a:solidFill>
                          <a:srgbClr val="FFFFFF"/>
                        </a:solidFill>
                        <a:latin typeface="Nexa Book"/>
                      </a:rPr>
                      <a:t>6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98477583800227</c:v>
                </c:pt>
                <c:pt idx="1">
                  <c:v>0.5802827055949885</c:v>
                </c:pt>
                <c:pt idx="2">
                  <c:v>0.62430134934671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Quattro</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411355611249158</c:v>
                </c:pt>
                <c:pt idx="1">
                  <c:v>0.29910180720466656</c:v>
                </c:pt>
                <c:pt idx="2">
                  <c:v>0.2353714017828851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435918138751988</c:v>
                </c:pt>
                <c:pt idx="1">
                  <c:v>0.08366318047011653</c:v>
                </c:pt>
                <c:pt idx="2">
                  <c:v>0.0877693548974014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3001835608732868</c:v>
                </c:pt>
                <c:pt idx="1">
                  <c:v>0.013849763888259148</c:v>
                </c:pt>
                <c:pt idx="2">
                  <c:v>0.0376286618444653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232676461669491</c:v>
                </c:pt>
                <c:pt idx="1">
                  <c:v>0.010325857696081533</c:v>
                </c:pt>
                <c:pt idx="2">
                  <c:v>0.00900997332120086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189297952186225</c:v>
                </c:pt>
                <c:pt idx="1">
                  <c:v>0.012404377251448941</c:v>
                </c:pt>
                <c:pt idx="2">
                  <c:v>0.00562580691290947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13757140811130795</c:v>
                </c:pt>
                <c:pt idx="1">
                  <c:v>0.00037230789443874063</c:v>
                </c:pt>
                <c:pt idx="2">
                  <c:v>0.000293451894424562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878185062919643</c:v>
                </c:pt>
                <c:pt idx="1">
                  <c:v>0.41970451013474164</c:v>
                </c:pt>
                <c:pt idx="2">
                  <c:v>0.46185302786824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Quattro</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1563555879720626</c:v>
                </c:pt>
                <c:pt idx="1">
                  <c:v>0.34066899943760587</c:v>
                </c:pt>
                <c:pt idx="2">
                  <c:v>0.281290549888716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45535904195455</c:v>
                </c:pt>
                <c:pt idx="1">
                  <c:v>0.1866121077800074</c:v>
                </c:pt>
                <c:pt idx="2">
                  <c:v>0.2005651204358549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883314617205979</c:v>
                </c:pt>
                <c:pt idx="1">
                  <c:v>0.011189230651478697</c:v>
                </c:pt>
                <c:pt idx="2">
                  <c:v>0.03564200946987599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5489023703744699</c:v>
                </c:pt>
                <c:pt idx="1">
                  <c:v>0.013367675981111543</c:v>
                </c:pt>
                <c:pt idx="2">
                  <c:v>0.01040923699610721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5114165623478325</c:v>
                </c:pt>
                <c:pt idx="1">
                  <c:v>0.02782436664104279</c:v>
                </c:pt>
                <c:pt idx="2">
                  <c:v>0.00969652570701819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23747936510821007</c:v>
                </c:pt>
                <c:pt idx="1">
                  <c:v>0.0006331093740120665</c:v>
                </c:pt>
                <c:pt idx="2">
                  <c:v>0.00054352963418092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58956</c:v>
                </c:pt>
                <c:pt idx="1">
                  <c:v>1.280485</c:v>
                </c:pt>
                <c:pt idx="2">
                  <c:v>1.2483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65788</c:v>
                </c:pt>
                <c:pt idx="1">
                  <c:v>1.382039</c:v>
                </c:pt>
                <c:pt idx="2">
                  <c:v>1.139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4556</c:v>
                </c:pt>
                <c:pt idx="1">
                  <c:v>0.306748</c:v>
                </c:pt>
                <c:pt idx="2">
                  <c:v>0.67665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1342</c:v>
                </c:pt>
                <c:pt idx="1">
                  <c:v>0.100776</c:v>
                </c:pt>
                <c:pt idx="2">
                  <c:v>0.081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92%</a:t>
                    </a:r>
                  </a:p>
                </c:rich>
              </c:tx>
              <c:showLegendKey val="0"/>
              <c:showVal val="1"/>
              <c:showCatName val="0"/>
              <c:showSerName val="0"/>
              <c:showPercent val="0"/>
              <c:showBubbleSize val="0"/>
            </c:dLbl>
            <c:dLbl>
              <c:idx val="1"/>
              <c:tx>
                <c:rich>
                  <a:bodyPr/>
                  <a:lstStyle/>
                  <a:p>
                    <a:r>
                      <a:rPr sz="800">
                        <a:solidFill>
                          <a:srgbClr val="FFFFFF"/>
                        </a:solidFill>
                        <a:latin typeface="Nexa Book"/>
                      </a:rPr>
                      <a:t>96%</a:t>
                    </a:r>
                  </a:p>
                </c:rich>
              </c:tx>
              <c:showLegendKey val="0"/>
              <c:showVal val="1"/>
              <c:showCatName val="0"/>
              <c:showSerName val="0"/>
              <c:showPercent val="0"/>
              <c:showBubbleSize val="0"/>
            </c:dLbl>
            <c:dLbl>
              <c:idx val="2"/>
              <c:tx>
                <c:rich>
                  <a:bodyPr/>
                  <a:lstStyle/>
                  <a:p>
                    <a:r>
                      <a:rPr sz="800">
                        <a:solidFill>
                          <a:srgbClr val="FFFFFF"/>
                        </a:solidFill>
                        <a:latin typeface="Nexa Book"/>
                      </a:rPr>
                      <a:t>9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216746479633622</c:v>
                </c:pt>
                <c:pt idx="1">
                  <c:v>0.9590831570218893</c:v>
                </c:pt>
                <c:pt idx="2">
                  <c:v>0.91367925343725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7832535203663778</c:v>
                </c:pt>
                <c:pt idx="1">
                  <c:v>0.023064129147346017</c:v>
                </c:pt>
                <c:pt idx="2">
                  <c:v>0.05980610530511358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17852713830764696</c:v>
                </c:pt>
                <c:pt idx="2">
                  <c:v>0.026514641257631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154131461012215</c:v>
                </c:pt>
                <c:pt idx="1">
                  <c:v>0.9705581803713372</c:v>
                </c:pt>
                <c:pt idx="2">
                  <c:v>0.94107092625551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458685389877851</c:v>
                </c:pt>
                <c:pt idx="1">
                  <c:v>0.02321224596465161</c:v>
                </c:pt>
                <c:pt idx="2">
                  <c:v>0.051594322534511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62295736640111815</c:v>
                </c:pt>
                <c:pt idx="2">
                  <c:v>0.00733475120997105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65216407607384</c:v>
                </c:pt>
                <c:pt idx="1">
                  <c:v>0.5418166688912265</c:v>
                </c:pt>
                <c:pt idx="2">
                  <c:v>0.60319771437276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36664586883609</c:v>
                </c:pt>
                <c:pt idx="1">
                  <c:v>0.35772164549601304</c:v>
                </c:pt>
                <c:pt idx="2">
                  <c:v>0.28931841302136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976965999577594</c:v>
                </c:pt>
                <c:pt idx="1">
                  <c:v>0.10037044754721278</c:v>
                </c:pt>
                <c:pt idx="2">
                  <c:v>0.107352391634454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2240555124730555e-05</c:v>
                </c:pt>
                <c:pt idx="1">
                  <c:v>9.123806554766641e-05</c:v>
                </c:pt>
                <c:pt idx="2">
                  <c:v>0.000131480971413652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346509</c:v>
                </c:pt>
                <c:pt idx="1">
                  <c:v>4.57033</c:v>
                </c:pt>
                <c:pt idx="2">
                  <c:v>4.2720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072776</c:v>
                </c:pt>
                <c:pt idx="1">
                  <c:v>3.854912</c:v>
                </c:pt>
                <c:pt idx="2">
                  <c:v>2.9363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73586</c:v>
                </c:pt>
                <c:pt idx="1">
                  <c:v>0.699938</c:v>
                </c:pt>
                <c:pt idx="2">
                  <c:v>1.3914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5925</c:v>
                </c:pt>
                <c:pt idx="1">
                  <c:v>0.087432</c:v>
                </c:pt>
                <c:pt idx="2">
                  <c:v>0.06429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207098214285714</c:v>
                </c:pt>
                <c:pt idx="1">
                  <c:v>0.3182259728359329</c:v>
                </c:pt>
                <c:pt idx="2">
                  <c:v>0.367703824409369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56693853021978</c:v>
                </c:pt>
                <c:pt idx="1">
                  <c:v>0.5714156756299497</c:v>
                </c:pt>
                <c:pt idx="2">
                  <c:v>0.478942066892574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253468406593407</c:v>
                </c:pt>
                <c:pt idx="1">
                  <c:v>0.11023458430960882</c:v>
                </c:pt>
                <c:pt idx="2">
                  <c:v>0.153174392276659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164148351648351e-05</c:v>
                </c:pt>
                <c:pt idx="1">
                  <c:v>0.0001237672245086356</c:v>
                </c:pt>
                <c:pt idx="2">
                  <c:v>0.000179716421395843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013429462182922</c:v>
                </c:pt>
                <c:pt idx="1">
                  <c:v>0.5181465603258721</c:v>
                </c:pt>
                <c:pt idx="2">
                  <c:v>0.502954804052092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93889707957673</c:v>
                </c:pt>
                <c:pt idx="1">
                  <c:v>0.1932827219216146</c:v>
                </c:pt>
                <c:pt idx="2">
                  <c:v>0.155459314338485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054802471606019</c:v>
                </c:pt>
                <c:pt idx="1">
                  <c:v>0.1557124026668641</c:v>
                </c:pt>
                <c:pt idx="2">
                  <c:v>0.166458901584509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1751254016438336</c:v>
                </c:pt>
                <c:pt idx="1">
                  <c:v>0.12847313545308972</c:v>
                </c:pt>
                <c:pt idx="2">
                  <c:v>0.175076714674322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725728866931598</c:v>
                </c:pt>
                <c:pt idx="1">
                  <c:v>0.004298623781634632</c:v>
                </c:pt>
                <c:pt idx="2">
                  <c:v>7.495710175671521e-0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010690099609405495</c:v>
                </c:pt>
                <c:pt idx="1">
                  <c:v>1.805841494114579e-05</c:v>
                </c:pt>
                <c:pt idx="2">
                  <c:v>3.5763845936210527e-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18074320282650684</c:v>
                </c:pt>
                <c:pt idx="1">
                  <c:v>6.849743598365645e-05</c:v>
                </c:pt>
                <c:pt idx="2">
                  <c:v>3.919325582050469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9295884196918904</c:v>
                </c:pt>
                <c:pt idx="1">
                  <c:v>0.41259865884902647</c:v>
                </c:pt>
                <c:pt idx="2">
                  <c:v>0.384433899809717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618728436045595</c:v>
                </c:pt>
                <c:pt idx="1">
                  <c:v>0.19929577651369632</c:v>
                </c:pt>
                <c:pt idx="2">
                  <c:v>0.143157329284731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319718542235888</c:v>
                </c:pt>
                <c:pt idx="1">
                  <c:v>0.21938778303840553</c:v>
                </c:pt>
                <c:pt idx="2">
                  <c:v>0.23511212045935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2243521521801012</c:v>
                </c:pt>
                <c:pt idx="1">
                  <c:v>0.1566755069941032</c:v>
                </c:pt>
                <c:pt idx="2">
                  <c:v>0.2372305748451195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591634228194004</c:v>
                </c:pt>
                <c:pt idx="1">
                  <c:v>0.0118682941347386</c:v>
                </c:pt>
                <c:pt idx="2">
                  <c:v>1.7653786548066846e-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010733251504377607</c:v>
                </c:pt>
                <c:pt idx="1">
                  <c:v>1.695647220595755e-05</c:v>
                </c:pt>
                <c:pt idx="2">
                  <c:v>3.2785603589267e-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408661298832215</c:v>
                </c:pt>
                <c:pt idx="1">
                  <c:v>0.00015702399782391942</c:v>
                </c:pt>
                <c:pt idx="2">
                  <c:v>4.514325417291379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234841795392257</c:v>
                </c:pt>
                <c:pt idx="1">
                  <c:v>0.323772144106874</c:v>
                </c:pt>
                <c:pt idx="2">
                  <c:v>0.27186516722992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31421717543875</c:v>
                </c:pt>
                <c:pt idx="1">
                  <c:v>0.15256745478290526</c:v>
                </c:pt>
                <c:pt idx="2">
                  <c:v>0.1254858545212747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00895268784978</c:v>
                </c:pt>
                <c:pt idx="1">
                  <c:v>0.12870464080033495</c:v>
                </c:pt>
                <c:pt idx="2">
                  <c:v>0.13984983924813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75052974301117</c:v>
                </c:pt>
                <c:pt idx="1">
                  <c:v>0.07401850552753508</c:v>
                </c:pt>
                <c:pt idx="2">
                  <c:v>0.0749964010776201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150074244520209</c:v>
                </c:pt>
                <c:pt idx="1">
                  <c:v>0.09177538271283159</c:v>
                </c:pt>
                <c:pt idx="2">
                  <c:v>0.0938590387792455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8279223794904311</c:v>
                </c:pt>
                <c:pt idx="1">
                  <c:v>0.07173429012696556</c:v>
                </c:pt>
                <c:pt idx="2">
                  <c:v>0.1040414184552739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045933026294263955</c:v>
                </c:pt>
                <c:pt idx="2">
                  <c:v>0.0740221213762279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9672252859869196</c:v>
                </c:pt>
                <c:pt idx="1">
                  <c:v>0.0033539535670416387</c:v>
                </c:pt>
                <c:pt idx="2">
                  <c:v>0.000173091028743393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589907699014325</c:v>
                </c:pt>
                <c:pt idx="1">
                  <c:v>0.10814060208124798</c:v>
                </c:pt>
                <c:pt idx="2">
                  <c:v>0.1157070682835539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385318533141293</c:v>
                </c:pt>
                <c:pt idx="1">
                  <c:v>0.05566021256124376</c:v>
                </c:pt>
                <c:pt idx="2">
                  <c:v>0.06169067090768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4260089132174492</c:v>
                </c:pt>
                <c:pt idx="1">
                  <c:v>0.25151361828913893</c:v>
                </c:pt>
                <c:pt idx="2">
                  <c:v>0.213107308562482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249012461034452</c:v>
                </c:pt>
                <c:pt idx="1">
                  <c:v>0.1273729342734069</c:v>
                </c:pt>
                <c:pt idx="2">
                  <c:v>0.105900611647581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33152016150023</c:v>
                </c:pt>
                <c:pt idx="1">
                  <c:v>0.18817711346579066</c:v>
                </c:pt>
                <c:pt idx="2">
                  <c:v>0.2032581409728615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142479130877477</c:v>
                </c:pt>
                <c:pt idx="1">
                  <c:v>0.0753745410133724</c:v>
                </c:pt>
                <c:pt idx="2">
                  <c:v>0.0769584628550777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144596703821248</c:v>
                </c:pt>
                <c:pt idx="1">
                  <c:v>0.14840237407092097</c:v>
                </c:pt>
                <c:pt idx="2">
                  <c:v>0.148176119726429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454270571118246</c:v>
                </c:pt>
                <c:pt idx="1">
                  <c:v>0.03780093526281169</c:v>
                </c:pt>
                <c:pt idx="2">
                  <c:v>0.05245946950748322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04152204825141893</c:v>
                </c:pt>
                <c:pt idx="2">
                  <c:v>0.067505727505065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inishing Touch Flawles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7930663603244474</c:v>
                </c:pt>
                <c:pt idx="1">
                  <c:v>0.0036080739100384125</c:v>
                </c:pt>
                <c:pt idx="2">
                  <c:v>0.000151825113041582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048736823622938</c:v>
                </c:pt>
                <c:pt idx="1">
                  <c:v>0.1262283614631011</c:v>
                </c:pt>
                <c:pt idx="2">
                  <c:v>0.1324823341099771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8958215874209109</c:v>
                </c:pt>
                <c:pt idx="1">
                  <c:v>0.10673892269169821</c:v>
                </c:pt>
                <c:pt idx="2">
                  <c:v>0.112623090263922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5856983226491</c:v>
                </c:pt>
                <c:pt idx="1">
                  <c:v>0.43842771029380734</c:v>
                </c:pt>
                <c:pt idx="2">
                  <c:v>0.427263371497101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624541537402662</c:v>
                </c:pt>
                <c:pt idx="1">
                  <c:v>0.290681130210315</c:v>
                </c:pt>
                <c:pt idx="2">
                  <c:v>0.352474178247897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688519922446718</c:v>
                </c:pt>
                <c:pt idx="1">
                  <c:v>0.14969960771966093</c:v>
                </c:pt>
                <c:pt idx="2">
                  <c:v>0.1197293125127085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19825453904857</c:v>
                </c:pt>
                <c:pt idx="1">
                  <c:v>0.1104439886766957</c:v>
                </c:pt>
                <c:pt idx="2">
                  <c:v>0.090504255557538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3202503991863665</c:v>
                </c:pt>
                <c:pt idx="1">
                  <c:v>0.0029835295063423153</c:v>
                </c:pt>
                <c:pt idx="2">
                  <c:v>0.002269388618925300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827352792665827</c:v>
                </c:pt>
                <c:pt idx="1">
                  <c:v>0.0077640335931787475</c:v>
                </c:pt>
                <c:pt idx="2">
                  <c:v>0.00775949356582938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038662223169708</c:v>
                </c:pt>
                <c:pt idx="1">
                  <c:v>0.6166479230361892</c:v>
                </c:pt>
                <c:pt idx="2">
                  <c:v>0.642464605061920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287214741214473</c:v>
                </c:pt>
                <c:pt idx="1">
                  <c:v>0.10105849181582773</c:v>
                </c:pt>
                <c:pt idx="2">
                  <c:v>0.125513145571169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79798055614514</c:v>
                </c:pt>
                <c:pt idx="1">
                  <c:v>0.07318399532837414</c:v>
                </c:pt>
                <c:pt idx="2">
                  <c:v>0.060935957201950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2812651975677975</c:v>
                </c:pt>
                <c:pt idx="1">
                  <c:v>0.20072159013915483</c:v>
                </c:pt>
                <c:pt idx="2">
                  <c:v>0.163181202712834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2670489556531176</c:v>
                </c:pt>
                <c:pt idx="1">
                  <c:v>0.002363543454657329</c:v>
                </c:pt>
                <c:pt idx="2">
                  <c:v>0.001717470190263494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4484815396122098</c:v>
                </c:pt>
                <c:pt idx="1">
                  <c:v>0.006024456225796755</c:v>
                </c:pt>
                <c:pt idx="2">
                  <c:v>0.0061876192618610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64548141465418</c:v>
                </c:pt>
                <c:pt idx="1">
                  <c:v>0.7070656820263822</c:v>
                </c:pt>
                <c:pt idx="2">
                  <c:v>0.7288525015322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41058575564217</c:v>
                </c:pt>
                <c:pt idx="1">
                  <c:v>0.22153060215300205</c:v>
                </c:pt>
                <c:pt idx="2">
                  <c:v>0.194119471710157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966924529739466</c:v>
                </c:pt>
                <c:pt idx="1">
                  <c:v>0.06315018506314417</c:v>
                </c:pt>
                <c:pt idx="2">
                  <c:v>0.0735624144545460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8238370881139524</c:v>
                </c:pt>
                <c:pt idx="1">
                  <c:v>0.003791842826278222</c:v>
                </c:pt>
                <c:pt idx="2">
                  <c:v>0.000381649954037510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404913905694654</c:v>
                </c:pt>
                <c:pt idx="1">
                  <c:v>1.2988311466744308e-05</c:v>
                </c:pt>
                <c:pt idx="2">
                  <c:v>8.545199082843782e-0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466072322402811e-06</c:v>
                </c:pt>
                <c:pt idx="1">
                  <c:v>2.0294236666787983e-06</c:v>
                </c:pt>
                <c:pt idx="2">
                  <c:v>1.0681498853554728e-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2028004821609062</c:v>
                </c:pt>
                <c:pt idx="1">
                  <c:v>0.004446670196059915</c:v>
                </c:pt>
                <c:pt idx="2">
                  <c:v>0.0030820396792046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51977510512045</c:v>
                </c:pt>
                <c:pt idx="1">
                  <c:v>0.5780430358582501</c:v>
                </c:pt>
                <c:pt idx="2">
                  <c:v>0.5906593596710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4005614583229</c:v>
                </c:pt>
                <c:pt idx="1">
                  <c:v>0.30531391251944906</c:v>
                </c:pt>
                <c:pt idx="2">
                  <c:v>0.280397950102607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990230669688706</c:v>
                </c:pt>
                <c:pt idx="1">
                  <c:v>0.10357440538807804</c:v>
                </c:pt>
                <c:pt idx="2">
                  <c:v>0.1213395077802420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69549175448493485</c:v>
                </c:pt>
                <c:pt idx="1">
                  <c:v>0.003522458496792264</c:v>
                </c:pt>
                <c:pt idx="2">
                  <c:v>0.000828848515477342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2380245034387375</c:v>
                </c:pt>
                <c:pt idx="1">
                  <c:v>2.3335760004120997e-05</c:v>
                </c:pt>
                <c:pt idx="2">
                  <c:v>1.5817719761017981e-0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56057596766997e-06</c:v>
                </c:pt>
                <c:pt idx="1">
                  <c:v>1.241263830006436e-06</c:v>
                </c:pt>
                <c:pt idx="2">
                  <c:v>1.5817719761017981e-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55560451347511</c:v>
                </c:pt>
                <c:pt idx="1">
                  <c:v>0.00952161071359637</c:v>
                </c:pt>
                <c:pt idx="2">
                  <c:v>0.0067711703866977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909374709090583</c:v>
                </c:pt>
                <c:pt idx="1">
                  <c:v>0.5310895992759405</c:v>
                </c:pt>
                <c:pt idx="2">
                  <c:v>0.581984151668368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788482786171211</c:v>
                </c:pt>
                <c:pt idx="1">
                  <c:v>0.13512572349406893</c:v>
                </c:pt>
                <c:pt idx="2">
                  <c:v>0.085391900781406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162545948820242</c:v>
                </c:pt>
                <c:pt idx="1">
                  <c:v>0.1253646862481899</c:v>
                </c:pt>
                <c:pt idx="2">
                  <c:v>0.118392101706764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93571787999252</c:v>
                </c:pt>
                <c:pt idx="1">
                  <c:v>0.10943980254341859</c:v>
                </c:pt>
                <c:pt idx="2">
                  <c:v>0.123159812726557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Easyrins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10022746241985569</c:v>
                </c:pt>
                <c:pt idx="1">
                  <c:v>0.06390652055513184</c:v>
                </c:pt>
                <c:pt idx="2">
                  <c:v>0.0527396034889449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350453537967156</c:v>
                </c:pt>
                <c:pt idx="2">
                  <c:v>0.0382702253391647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9.483547868207864e-05</c:v>
                </c:pt>
                <c:pt idx="1">
                  <c:v>2.8314086534682882e-05</c:v>
                </c:pt>
                <c:pt idx="2">
                  <c:v>6.220428879304413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450759113479122</c:v>
                </c:pt>
                <c:pt idx="1">
                  <c:v>0.305396182771507</c:v>
                </c:pt>
                <c:pt idx="2">
                  <c:v>0.364666836256658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703842447655193</c:v>
                </c:pt>
                <c:pt idx="1">
                  <c:v>0.22075242520486382</c:v>
                </c:pt>
                <c:pt idx="2">
                  <c:v>0.144263618531841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850061182711657</c:v>
                </c:pt>
                <c:pt idx="1">
                  <c:v>0.2302037916068397</c:v>
                </c:pt>
                <c:pt idx="2">
                  <c:v>0.2130610923417504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890823893474181</c:v>
                </c:pt>
                <c:pt idx="1">
                  <c:v>0.15565233962695033</c:v>
                </c:pt>
                <c:pt idx="2">
                  <c:v>0.1824921459511090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Easyrins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9.173795018412601e-05</c:v>
                </c:pt>
                <c:pt idx="1">
                  <c:v>0.06518204304039907</c:v>
                </c:pt>
                <c:pt idx="2">
                  <c:v>0.0695830538952788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22740808729185887</c:v>
                </c:pt>
                <c:pt idx="2">
                  <c:v>0.02579730071599212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21092505081704563</c:v>
                </c:pt>
                <c:pt idx="1">
                  <c:v>7.240902025423524e-05</c:v>
                </c:pt>
                <c:pt idx="2">
                  <c:v>0.000135952307369946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0060065173675427</c:v>
                </c:pt>
                <c:pt idx="1">
                  <c:v>0.2577111272248779</c:v>
                </c:pt>
                <c:pt idx="2">
                  <c:v>0.313902246269754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224364108028578</c:v>
                </c:pt>
                <c:pt idx="1">
                  <c:v>0.16751921512935777</c:v>
                </c:pt>
                <c:pt idx="2">
                  <c:v>0.194497215655020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936252293062923</c:v>
                </c:pt>
                <c:pt idx="1">
                  <c:v>0.17856828405763758</c:v>
                </c:pt>
                <c:pt idx="2">
                  <c:v>0.1177950574293051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698542379124197</c:v>
                </c:pt>
                <c:pt idx="1">
                  <c:v>0.1393159365571498</c:v>
                </c:pt>
                <c:pt idx="2">
                  <c:v>0.138108973930172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179548840722071</c:v>
                </c:pt>
                <c:pt idx="1">
                  <c:v>0.13451364584604353</c:v>
                </c:pt>
                <c:pt idx="2">
                  <c:v>0.105484818773894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960187643870256</c:v>
                </c:pt>
                <c:pt idx="1">
                  <c:v>0.10741304344320497</c:v>
                </c:pt>
                <c:pt idx="2">
                  <c:v>0.1019582791021546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056450059747906e-06</c:v>
                </c:pt>
                <c:pt idx="1">
                  <c:v>0.011064065840206022</c:v>
                </c:pt>
                <c:pt idx="2">
                  <c:v>0.0255789596405356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5.948764776174007e-07</c:v>
                </c:pt>
                <c:pt idx="1">
                  <c:v>2.7951233697577325e-06</c:v>
                </c:pt>
                <c:pt idx="2">
                  <c:v>6.370769888428707e-0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2453486236417297</c:v>
                </c:pt>
                <c:pt idx="1">
                  <c:v>0.0038918867781526706</c:v>
                </c:pt>
                <c:pt idx="2">
                  <c:v>0.00267381212217352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8313798870417555</c:v>
                </c:pt>
                <c:pt idx="1">
                  <c:v>0.15183552288937846</c:v>
                </c:pt>
                <c:pt idx="2">
                  <c:v>0.187902719182621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345028787205283</c:v>
                </c:pt>
                <c:pt idx="1">
                  <c:v>0.3008556331434602</c:v>
                </c:pt>
                <c:pt idx="2">
                  <c:v>0.3490809477585903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08545074783076</c:v>
                </c:pt>
                <c:pt idx="1">
                  <c:v>0.12168414920228883</c:v>
                </c:pt>
                <c:pt idx="2">
                  <c:v>0.0758253260369101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06724274882432</c:v>
                </c:pt>
                <c:pt idx="1">
                  <c:v>0.13365485449387204</c:v>
                </c:pt>
                <c:pt idx="2">
                  <c:v>0.139866589747929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108738575728814</c:v>
                </c:pt>
                <c:pt idx="1">
                  <c:v>0.15854418346562305</c:v>
                </c:pt>
                <c:pt idx="2">
                  <c:v>0.1010542933436505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2565672445431</c:v>
                </c:pt>
                <c:pt idx="1">
                  <c:v>0.11768490347402423</c:v>
                </c:pt>
                <c:pt idx="2">
                  <c:v>0.1163919815671386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92891141597851e-06</c:v>
                </c:pt>
                <c:pt idx="1">
                  <c:v>0.010583723425396317</c:v>
                </c:pt>
                <c:pt idx="2">
                  <c:v>0.026229766268041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5602398463101341e-06</c:v>
                </c:pt>
                <c:pt idx="1">
                  <c:v>6.553186232869767e-06</c:v>
                </c:pt>
                <c:pt idx="2">
                  <c:v>2.4674530604067055e-0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5133189094360341</c:v>
                </c:pt>
                <c:pt idx="1">
                  <c:v>0.005150476719723993</c:v>
                </c:pt>
                <c:pt idx="2">
                  <c:v>0.003645908642056947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739928936939125</c:v>
                </c:pt>
                <c:pt idx="1">
                  <c:v>0.31014974676390056</c:v>
                </c:pt>
                <c:pt idx="2">
                  <c:v>0.32655211000764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491048787524485</c:v>
                </c:pt>
                <c:pt idx="1">
                  <c:v>0.24613012439571777</c:v>
                </c:pt>
                <c:pt idx="2">
                  <c:v>0.23265160125181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999153468879543</c:v>
                </c:pt>
                <c:pt idx="1">
                  <c:v>0.15035036023726822</c:v>
                </c:pt>
                <c:pt idx="2">
                  <c:v>0.1557792627580013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898697177217304</c:v>
                </c:pt>
                <c:pt idx="1">
                  <c:v>0.12700215648509391</c:v>
                </c:pt>
                <c:pt idx="2">
                  <c:v>0.149865837664120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95275748971256</c:v>
                </c:pt>
                <c:pt idx="1">
                  <c:v>0.12062598427357181</c:v>
                </c:pt>
                <c:pt idx="2">
                  <c:v>0.1125377519577418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088703554671485</c:v>
                </c:pt>
                <c:pt idx="1">
                  <c:v>0.03644154091089742</c:v>
                </c:pt>
                <c:pt idx="2">
                  <c:v>0.00127435076477453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8297105850554994</c:v>
                </c:pt>
                <c:pt idx="1">
                  <c:v>0.009300086933550316</c:v>
                </c:pt>
                <c:pt idx="2">
                  <c:v>0.0213390855958984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4334857650143484</c:v>
                </c:pt>
                <c:pt idx="1">
                  <c:v>0.23263375934849945</c:v>
                </c:pt>
                <c:pt idx="2">
                  <c:v>0.25015588783633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434518033734543</c:v>
                </c:pt>
                <c:pt idx="1">
                  <c:v>0.33808292050104694</c:v>
                </c:pt>
                <c:pt idx="2">
                  <c:v>0.346811070240854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81458389247889</c:v>
                </c:pt>
                <c:pt idx="1">
                  <c:v>0.12653201752066598</c:v>
                </c:pt>
                <c:pt idx="2">
                  <c:v>0.1302466491988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122901913826207</c:v>
                </c:pt>
                <c:pt idx="1">
                  <c:v>0.06422969039547514</c:v>
                </c:pt>
                <c:pt idx="2">
                  <c:v>0.0721886652222110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2864623118690258</c:v>
                </c:pt>
                <c:pt idx="1">
                  <c:v>0.19429351953635268</c:v>
                </c:pt>
                <c:pt idx="2">
                  <c:v>0.1816486949511236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13365299254702</c:v>
                </c:pt>
                <c:pt idx="1">
                  <c:v>0.03624410567756439</c:v>
                </c:pt>
                <c:pt idx="2">
                  <c:v>0.001352602539554570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294862398579598</c:v>
                </c:pt>
                <c:pt idx="1">
                  <c:v>0.007983987020395395</c:v>
                </c:pt>
                <c:pt idx="2">
                  <c:v>0.0175964300110853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9467318493604977</c:v>
                </c:pt>
                <c:pt idx="1">
                  <c:v>0.23421082549343666</c:v>
                </c:pt>
                <c:pt idx="2">
                  <c:v>0.257242954199896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134736078928296</c:v>
                </c:pt>
                <c:pt idx="1">
                  <c:v>0.19592929827248234</c:v>
                </c:pt>
                <c:pt idx="2">
                  <c:v>0.149182391680365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16867868550138</c:v>
                </c:pt>
                <c:pt idx="1">
                  <c:v>0.18885248591981804</c:v>
                </c:pt>
                <c:pt idx="2">
                  <c:v>0.2000000894122885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843566261899353</c:v>
                </c:pt>
                <c:pt idx="1">
                  <c:v>0.16233949469505285</c:v>
                </c:pt>
                <c:pt idx="2">
                  <c:v>0.168937142714083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1196167626316089</c:v>
                </c:pt>
                <c:pt idx="1">
                  <c:v>0.12026086741374704</c:v>
                </c:pt>
                <c:pt idx="2">
                  <c:v>0.1138913613870349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1892521825143</c:v>
                </c:pt>
                <c:pt idx="1">
                  <c:v>0.09838980282577656</c:v>
                </c:pt>
                <c:pt idx="2">
                  <c:v>0.1107136486517297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806712356004577e-06</c:v>
                </c:pt>
                <c:pt idx="1">
                  <c:v>1.7225379686516882e-05</c:v>
                </c:pt>
                <c:pt idx="2">
                  <c:v>3.2411954601804605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560842860677086</c:v>
                </c:pt>
                <c:pt idx="1">
                  <c:v>0.15377470512177746</c:v>
                </c:pt>
                <c:pt idx="2">
                  <c:v>0.163191942272501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026056449146484</c:v>
                </c:pt>
                <c:pt idx="1">
                  <c:v>0.13006642406331037</c:v>
                </c:pt>
                <c:pt idx="2">
                  <c:v>0.095352172872667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28351972447487</c:v>
                </c:pt>
                <c:pt idx="1">
                  <c:v>0.3230689884303627</c:v>
                </c:pt>
                <c:pt idx="2">
                  <c:v>0.333254032252487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32096613012251</c:v>
                </c:pt>
                <c:pt idx="1">
                  <c:v>0.1602798974253179</c:v>
                </c:pt>
                <c:pt idx="2">
                  <c:v>0.171714272673078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09485202017349</c:v>
                </c:pt>
                <c:pt idx="1">
                  <c:v>0.13691225258895523</c:v>
                </c:pt>
                <c:pt idx="2">
                  <c:v>0.1318910679780852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713421915390564</c:v>
                </c:pt>
                <c:pt idx="1">
                  <c:v>0.09586462828671974</c:v>
                </c:pt>
                <c:pt idx="2">
                  <c:v>0.1045487929868337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3.4090001499960065e-06</c:v>
                </c:pt>
                <c:pt idx="1">
                  <c:v>3.3104083556625974e-05</c:v>
                </c:pt>
                <c:pt idx="2">
                  <c:v>4.771896434632626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158740337531726</c:v>
                </c:pt>
                <c:pt idx="1">
                  <c:v>0.4331410395053133</c:v>
                </c:pt>
                <c:pt idx="2">
                  <c:v>0.41637694554918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05078446014563</c:v>
                </c:pt>
                <c:pt idx="1">
                  <c:v>0.346260258228329</c:v>
                </c:pt>
                <c:pt idx="2">
                  <c:v>0.399873933706324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32689464168512</c:v>
                </c:pt>
                <c:pt idx="1">
                  <c:v>0.11991594931026461</c:v>
                </c:pt>
                <c:pt idx="2">
                  <c:v>0.099442750992935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237595277503498</c:v>
                </c:pt>
                <c:pt idx="1">
                  <c:v>0.097764223323794</c:v>
                </c:pt>
                <c:pt idx="2">
                  <c:v>0.0818376944787514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8064060723306459</c:v>
                </c:pt>
                <c:pt idx="1">
                  <c:v>0.0007610760536708436</c:v>
                </c:pt>
                <c:pt idx="2">
                  <c:v>0.000579013794266968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4534467590096155</c:v>
                </c:pt>
                <c:pt idx="1">
                  <c:v>0.0021574535786282726</c:v>
                </c:pt>
                <c:pt idx="2">
                  <c:v>0.0018896614785355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118216351271164</c:v>
                </c:pt>
                <c:pt idx="1">
                  <c:v>0.643690898706955</c:v>
                </c:pt>
                <c:pt idx="2">
                  <c:v>0.66409372290935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876204786264164</c:v>
                </c:pt>
                <c:pt idx="1">
                  <c:v>0.10218553111039942</c:v>
                </c:pt>
                <c:pt idx="2">
                  <c:v>0.1199296879172129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360372268844838</c:v>
                </c:pt>
                <c:pt idx="1">
                  <c:v>0.061882632660352176</c:v>
                </c:pt>
                <c:pt idx="2">
                  <c:v>0.0535778591844709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3383431109536118</c:v>
                </c:pt>
                <c:pt idx="1">
                  <c:v>0.18985003619822358</c:v>
                </c:pt>
                <c:pt idx="2">
                  <c:v>0.160345170813447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7440393709220418</c:v>
                </c:pt>
                <c:pt idx="1">
                  <c:v>0.0006327865601200417</c:v>
                </c:pt>
                <c:pt idx="2">
                  <c:v>0.0004611983054704345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2342438555103053</c:v>
                </c:pt>
                <c:pt idx="1">
                  <c:v>0.0017581147639498071</c:v>
                </c:pt>
                <c:pt idx="2">
                  <c:v>0.00159236087004732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9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4311666393726</c:v>
                </c:pt>
                <c:pt idx="1">
                  <c:v>0.6482193687356315</c:v>
                </c:pt>
                <c:pt idx="2">
                  <c:v>0.98191675943203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3505467284862451</c:v>
                </c:pt>
                <c:pt idx="2">
                  <c:v>0.018063219265298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45679235584184</c:v>
                </c:pt>
                <c:pt idx="1">
                  <c:v>0.001233902778123443</c:v>
                </c:pt>
                <c:pt idx="2">
                  <c:v>2.0021302666036663e-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8.529395709372783e-06</c:v>
                </c:pt>
                <c:pt idx="1">
                  <c:v>0.0</c:v>
                </c:pt>
                <c:pt idx="2">
                  <c:v>0.0</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686263806248522e-07</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17826305131069007</c:v>
                </c:pt>
                <c:pt idx="1">
                  <c:v>0.5833048819223982</c:v>
                </c:pt>
                <c:pt idx="2">
                  <c:v>0.950282485875706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4070853355482969</c:v>
                </c:pt>
                <c:pt idx="2">
                  <c:v>0.0496088657105606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821685831393006</c:v>
                </c:pt>
                <c:pt idx="1">
                  <c:v>0.009609782529304953</c:v>
                </c:pt>
                <c:pt idx="2">
                  <c:v>0.000108648413733159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259774691996991e-06</c:v>
                </c:pt>
                <c:pt idx="1">
                  <c:v>0.0</c:v>
                </c:pt>
                <c:pt idx="2">
                  <c:v>0.0</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519549383993981e-07</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4%</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3548097659743</c:v>
                </c:pt>
                <c:pt idx="1">
                  <c:v>0.6434785397627321</c:v>
                </c:pt>
                <c:pt idx="2">
                  <c:v>0.63646289389762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250157991551931</c:v>
                </c:pt>
                <c:pt idx="1">
                  <c:v>0.1635858764462163</c:v>
                </c:pt>
                <c:pt idx="2">
                  <c:v>0.174020270234465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266602072452754</c:v>
                </c:pt>
                <c:pt idx="1">
                  <c:v>0.16467484532014834</c:v>
                </c:pt>
                <c:pt idx="2">
                  <c:v>0.1593768646315885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5037052735254948</c:v>
                </c:pt>
                <c:pt idx="1">
                  <c:v>0.0185550674303759</c:v>
                </c:pt>
                <c:pt idx="2">
                  <c:v>0.0155436219133888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224012581387566</c:v>
                </c:pt>
                <c:pt idx="1">
                  <c:v>0.005997931644025613</c:v>
                </c:pt>
                <c:pt idx="2">
                  <c:v>0.0099002597633832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6237049076101994</c:v>
                </c:pt>
                <c:pt idx="1">
                  <c:v>0.003707739396501769</c:v>
                </c:pt>
                <c:pt idx="2">
                  <c:v>0.00469608955954686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181732071531834</c:v>
                </c:pt>
                <c:pt idx="1">
                  <c:v>0.5358336092940145</c:v>
                </c:pt>
                <c:pt idx="2">
                  <c:v>0.50245194604064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174321193488568</c:v>
                </c:pt>
                <c:pt idx="1">
                  <c:v>0.24006886088549712</c:v>
                </c:pt>
                <c:pt idx="2">
                  <c:v>0.2419435016377112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522785090621627</c:v>
                </c:pt>
                <c:pt idx="1">
                  <c:v>0.19261241771876267</c:v>
                </c:pt>
                <c:pt idx="2">
                  <c:v>0.2124719954784188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756348685995291</c:v>
                </c:pt>
                <c:pt idx="1">
                  <c:v>0.016858080345312457</c:v>
                </c:pt>
                <c:pt idx="2">
                  <c:v>0.017930189822745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9205410879057411</c:v>
                </c:pt>
                <c:pt idx="1">
                  <c:v>0.010438204561088639</c:v>
                </c:pt>
                <c:pt idx="2">
                  <c:v>0.0180853516531301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174684258057777</c:v>
                </c:pt>
                <c:pt idx="1">
                  <c:v>0.004188827195324642</c:v>
                </c:pt>
                <c:pt idx="2">
                  <c:v>0.00711701536734441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86063172205</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93682779519449e-06</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68338923192</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1661076807613627e-06</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9027104893910584</c:v>
                </c:pt>
                <c:pt idx="1">
                  <c:v>0.4838975394325742</c:v>
                </c:pt>
                <c:pt idx="2">
                  <c:v>0.490659472609759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9679734321097011</c:v>
                </c:pt>
                <c:pt idx="1">
                  <c:v>0.09743210773942822</c:v>
                </c:pt>
                <c:pt idx="2">
                  <c:v>0.098087570411983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868206480321696</c:v>
                </c:pt>
                <c:pt idx="1">
                  <c:v>0.08501858913142511</c:v>
                </c:pt>
                <c:pt idx="2">
                  <c:v>0.0828535505789779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247856061356205</c:v>
                </c:pt>
                <c:pt idx="1">
                  <c:v>0.08257152068242357</c:v>
                </c:pt>
                <c:pt idx="2">
                  <c:v>0.0779219756444066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759659378459466</c:v>
                </c:pt>
                <c:pt idx="1">
                  <c:v>0.06998052716706672</c:v>
                </c:pt>
                <c:pt idx="2">
                  <c:v>0.0855594561502322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1807164911653665</c:v>
                </c:pt>
                <c:pt idx="1">
                  <c:v>0.04020890128698255</c:v>
                </c:pt>
                <c:pt idx="2">
                  <c:v>0.0338666416740184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305099582446724</c:v>
                </c:pt>
                <c:pt idx="1">
                  <c:v>0.017079492804025143</c:v>
                </c:pt>
                <c:pt idx="2">
                  <c:v>0.02079667179745204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8787084039201473</c:v>
                </c:pt>
                <c:pt idx="1">
                  <c:v>0.017045715526974425</c:v>
                </c:pt>
                <c:pt idx="2">
                  <c:v>0.00995471583475588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998057726601944</c:v>
                </c:pt>
                <c:pt idx="1">
                  <c:v>0.018223547065514822</c:v>
                </c:pt>
                <c:pt idx="2">
                  <c:v>0.01503827686417216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9054856660720859</c:v>
                </c:pt>
                <c:pt idx="1">
                  <c:v>0.08854205916358523</c:v>
                </c:pt>
                <c:pt idx="2">
                  <c:v>0.0852616684342417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5310162206276166</c:v>
                </c:pt>
                <c:pt idx="1">
                  <c:v>0.2648271954839295</c:v>
                </c:pt>
                <c:pt idx="2">
                  <c:v>0.267094251744167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267436639554152</c:v>
                </c:pt>
                <c:pt idx="1">
                  <c:v>0.17204473517088137</c:v>
                </c:pt>
                <c:pt idx="2">
                  <c:v>0.162593853585433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252553748053757</c:v>
                </c:pt>
                <c:pt idx="1">
                  <c:v>0.09488488107069946</c:v>
                </c:pt>
                <c:pt idx="2">
                  <c:v>0.0993777409509105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887469342137956</c:v>
                </c:pt>
                <c:pt idx="1">
                  <c:v>0.04812565510362695</c:v>
                </c:pt>
                <c:pt idx="2">
                  <c:v>0.0484480752986842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7347506607423485</c:v>
                </c:pt>
                <c:pt idx="1">
                  <c:v>0.04104062333255992</c:v>
                </c:pt>
                <c:pt idx="2">
                  <c:v>0.0559183366622811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461718224679933</c:v>
                </c:pt>
                <c:pt idx="1">
                  <c:v>0.02704477250389421</c:v>
                </c:pt>
                <c:pt idx="2">
                  <c:v>0.0231729397819595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0015098227223919</c:v>
                </c:pt>
                <c:pt idx="1">
                  <c:v>0.006901756246369557</c:v>
                </c:pt>
                <c:pt idx="2">
                  <c:v>0.00867521993609261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32963650731622766</c:v>
                </c:pt>
                <c:pt idx="1">
                  <c:v>0.018907156508744912</c:v>
                </c:pt>
                <c:pt idx="2">
                  <c:v>0.0112348804320005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0162875473046354</c:v>
                </c:pt>
                <c:pt idx="1">
                  <c:v>0.009606320278585337</c:v>
                </c:pt>
                <c:pt idx="2">
                  <c:v>0.0079490066808246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1771746735366385</c:v>
                </c:pt>
                <c:pt idx="1">
                  <c:v>0.31661690430070877</c:v>
                </c:pt>
                <c:pt idx="2">
                  <c:v>0.315535694927646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8089476085899723</c:v>
                </c:pt>
                <c:pt idx="1">
                  <c:v>0.3152500017580294</c:v>
                </c:pt>
                <c:pt idx="2">
                  <c:v>0.291316847797275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0882125399461676</c:v>
                </c:pt>
                <c:pt idx="1">
                  <c:v>0.09560703444390284</c:v>
                </c:pt>
                <c:pt idx="2">
                  <c:v>0.0647901312760218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Gillette Venu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902022990493563</c:v>
                </c:pt>
                <c:pt idx="1">
                  <c:v>0.1199053046997269</c:v>
                </c:pt>
                <c:pt idx="2">
                  <c:v>0.0908593335608164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m P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860187291065746</c:v>
                </c:pt>
                <c:pt idx="1">
                  <c:v>0.06901379279196643</c:v>
                </c:pt>
                <c:pt idx="2">
                  <c:v>0.071225528328669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968952051201253</c:v>
                </c:pt>
                <c:pt idx="1">
                  <c:v>0.0721114534274374</c:v>
                </c:pt>
                <c:pt idx="2">
                  <c:v>0.0796479866903438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Razor</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6172501605655363</c:v>
                </c:pt>
                <c:pt idx="1">
                  <c:v>0.05739502151258382</c:v>
                </c:pt>
                <c:pt idx="2">
                  <c:v>0.0557089642073117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maz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598029346345042</c:v>
                </c:pt>
                <c:pt idx="1">
                  <c:v>0.05403272713253655</c:v>
                </c:pt>
                <c:pt idx="2">
                  <c:v>0.057621245454526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21668531314151707</c:v>
                </c:pt>
                <c:pt idx="1">
                  <c:v>0.0017028773754842173</c:v>
                </c:pt>
                <c:pt idx="2">
                  <c:v>0.0250706066382512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0989534782632865</c:v>
                </c:pt>
                <c:pt idx="1">
                  <c:v>0.00023666801516014911</c:v>
                </c:pt>
                <c:pt idx="2">
                  <c:v>7.402680658720136e-0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721106643847283</c:v>
                </c:pt>
                <c:pt idx="1">
                  <c:v>0.21474511884317227</c:v>
                </c:pt>
                <c:pt idx="2">
                  <c:v>0.2637586157787177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7609186461868687</c:v>
                </c:pt>
                <c:pt idx="1">
                  <c:v>0.24223708986546053</c:v>
                </c:pt>
                <c:pt idx="2">
                  <c:v>0.222115638462120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7527045583757475</c:v>
                </c:pt>
                <c:pt idx="1">
                  <c:v>0.08048944238951282</c:v>
                </c:pt>
                <c:pt idx="2">
                  <c:v>0.05491127547468393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Gillette Venu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802702255009991</c:v>
                </c:pt>
                <c:pt idx="1">
                  <c:v>0.05358905653084953</c:v>
                </c:pt>
                <c:pt idx="2">
                  <c:v>0.0300966462141884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m P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192455520430472</c:v>
                </c:pt>
                <c:pt idx="1">
                  <c:v>0.12279303138615252</c:v>
                </c:pt>
                <c:pt idx="2">
                  <c:v>0.12439054848062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721982900886534</c:v>
                </c:pt>
                <c:pt idx="1">
                  <c:v>0.0535735646888216</c:v>
                </c:pt>
                <c:pt idx="2">
                  <c:v>0.05979436020466228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Razor</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342546199742679</c:v>
                </c:pt>
                <c:pt idx="1">
                  <c:v>0.0734349246809</c:v>
                </c:pt>
                <c:pt idx="2">
                  <c:v>0.072246555849189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maz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7107626331088648</c:v>
                </c:pt>
                <c:pt idx="1">
                  <c:v>0.08428234840354172</c:v>
                </c:pt>
                <c:pt idx="2">
                  <c:v>0.0924001816625501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10691793425294945</c:v>
                </c:pt>
                <c:pt idx="1">
                  <c:v>0.002709714822338917</c:v>
                </c:pt>
                <c:pt idx="2">
                  <c:v>0.01490505318908995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833187950682489</c:v>
                </c:pt>
                <c:pt idx="1">
                  <c:v>0.0011727484124854665</c:v>
                </c:pt>
                <c:pt idx="2">
                  <c:v>3.58440587819478e-0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475634886228008</c:v>
                </c:pt>
                <c:pt idx="1">
                  <c:v>0.28571807881993677</c:v>
                </c:pt>
                <c:pt idx="2">
                  <c:v>0.32913615605701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1</a:t>
                    </a:r>
                  </a:p>
                </c:rich>
              </c:tx>
              <c:showLegendKey val="0"/>
              <c:showVal val="1"/>
              <c:showCatName val="0"/>
              <c:showSerName val="0"/>
              <c:showPercent val="0"/>
              <c:showBubbleSize val="0"/>
            </c:dLbl>
            <c:dLbl>
              <c:idx val="2"/>
              <c:tx>
                <c:rich>
                  <a:bodyPr/>
                  <a:lstStyle/>
                  <a:p>
                    <a:r>
                      <a:rPr>
                        <a:solidFill>
                          <a:srgbClr val="FFFFFF"/>
                        </a:solidFill>
                      </a:rPr>
                      <a:t>2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4.614617</c:v>
                </c:pt>
                <c:pt idx="1">
                  <c:v>39.070057</c:v>
                </c:pt>
                <c:pt idx="2">
                  <c:v>24.3802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5</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72294</c:v>
                </c:pt>
                <c:pt idx="1">
                  <c:v>13.479956</c:v>
                </c:pt>
                <c:pt idx="2">
                  <c:v>9.116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171522</c:v>
                </c:pt>
                <c:pt idx="1">
                  <c:v>5.513649</c:v>
                </c:pt>
                <c:pt idx="2">
                  <c:v>3.09856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735861</c:v>
                </c:pt>
                <c:pt idx="1">
                  <c:v>2.044869</c:v>
                </c:pt>
                <c:pt idx="2">
                  <c:v>1.30033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23633828140761</c:v>
                </c:pt>
                <c:pt idx="1">
                  <c:v>0.49047884331247216</c:v>
                </c:pt>
                <c:pt idx="2">
                  <c:v>0.540651663600540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121984002162295</c:v>
                </c:pt>
                <c:pt idx="1">
                  <c:v>0.2658576112597349</c:v>
                </c:pt>
                <c:pt idx="2">
                  <c:v>0.2521343931674140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568259138333897</c:v>
                </c:pt>
                <c:pt idx="1">
                  <c:v>0.11813968483589066</c:v>
                </c:pt>
                <c:pt idx="2">
                  <c:v>0.1172235036099047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680512820010616</c:v>
                </c:pt>
                <c:pt idx="1">
                  <c:v>0.0626884304241583</c:v>
                </c:pt>
                <c:pt idx="2">
                  <c:v>0.0529025205519273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33384811084448844</c:v>
                </c:pt>
                <c:pt idx="2">
                  <c:v>0.01806339908457218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6953572876535785</c:v>
                </c:pt>
                <c:pt idx="1">
                  <c:v>0.015665773810269547</c:v>
                </c:pt>
                <c:pt idx="2">
                  <c:v>0.01137024160320901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8335675491461487</c:v>
                </c:pt>
                <c:pt idx="1">
                  <c:v>0.0011546718495212625</c:v>
                </c:pt>
                <c:pt idx="2">
                  <c:v>0.00143680430872313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614191715517393</c:v>
                </c:pt>
                <c:pt idx="1">
                  <c:v>0.012630173423504311</c:v>
                </c:pt>
                <c:pt idx="2">
                  <c:v>0.00621747407370874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88055749608088</c:v>
                </c:pt>
                <c:pt idx="1">
                  <c:v>0.5347381877178926</c:v>
                </c:pt>
                <c:pt idx="2">
                  <c:v>0.59062379427630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0646531574270338</c:v>
                </c:pt>
                <c:pt idx="1">
                  <c:v>0.2123952518105848</c:v>
                </c:pt>
                <c:pt idx="2">
                  <c:v>0.212725430287636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458360093482653</c:v>
                </c:pt>
                <c:pt idx="1">
                  <c:v>0.09492084953416495</c:v>
                </c:pt>
                <c:pt idx="2">
                  <c:v>0.087926354574951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041904205270918</c:v>
                </c:pt>
                <c:pt idx="1">
                  <c:v>0.10150696287574676</c:v>
                </c:pt>
                <c:pt idx="2">
                  <c:v>0.0748812250935748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2365044313677979</c:v>
                </c:pt>
                <c:pt idx="2">
                  <c:v>0.0127436540671062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8149628589023477</c:v>
                </c:pt>
                <c:pt idx="1">
                  <c:v>0.01730389054170222</c:v>
                </c:pt>
                <c:pt idx="2">
                  <c:v>0.01265573856849364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5901955906277322</c:v>
                </c:pt>
                <c:pt idx="1">
                  <c:v>0.0007478863860389144</c:v>
                </c:pt>
                <c:pt idx="2">
                  <c:v>0.000954256889798812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0986642129300903</c:v>
                </c:pt>
                <c:pt idx="1">
                  <c:v>0.014736527997089995</c:v>
                </c:pt>
                <c:pt idx="2">
                  <c:v>0.00748954624212853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87955126825</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44873175013512e-05</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643915857317</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5608414268291595e-05</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31.2</a:t>
                    </a:r>
                  </a:p>
                </c:rich>
              </c:tx>
              <c:showLegendKey val="0"/>
              <c:showVal val="1"/>
              <c:showCatName val="0"/>
              <c:showSerName val="0"/>
              <c:showPercent val="0"/>
              <c:showBubbleSize val="0"/>
            </c:dLbl>
            <c:dLbl>
              <c:idx val="1"/>
              <c:tx>
                <c:rich>
                  <a:bodyPr/>
                  <a:lstStyle/>
                  <a:p>
                    <a:r>
                      <a:rPr>
                        <a:solidFill>
                          <a:srgbClr val="FFFFFF"/>
                        </a:solidFill>
                      </a:rPr>
                      <a:t>121.2</a:t>
                    </a:r>
                  </a:p>
                </c:rich>
              </c:tx>
              <c:showLegendKey val="0"/>
              <c:showVal val="1"/>
              <c:showCatName val="0"/>
              <c:showSerName val="0"/>
              <c:showPercent val="0"/>
              <c:showBubbleSize val="0"/>
            </c:dLbl>
            <c:dLbl>
              <c:idx val="2"/>
              <c:tx>
                <c:rich>
                  <a:bodyPr/>
                  <a:lstStyle/>
                  <a:p>
                    <a:r>
                      <a:rPr>
                        <a:solidFill>
                          <a:srgbClr val="FFFFFF"/>
                        </a:solidFill>
                      </a:rPr>
                      <a:t>7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31.160204</c:v>
                </c:pt>
                <c:pt idx="1">
                  <c:v>121.193688</c:v>
                </c:pt>
                <c:pt idx="2">
                  <c:v>73.8246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17.2</a:t>
                    </a:r>
                  </a:p>
                </c:rich>
              </c:tx>
              <c:showLegendKey val="0"/>
              <c:showVal val="1"/>
              <c:showCatName val="0"/>
              <c:showSerName val="0"/>
              <c:showPercent val="0"/>
              <c:showBubbleSize val="0"/>
            </c:dLbl>
            <c:dLbl>
              <c:idx val="1"/>
              <c:tx>
                <c:rich>
                  <a:bodyPr/>
                  <a:lstStyle/>
                  <a:p>
                    <a:r>
                      <a:rPr>
                        <a:solidFill>
                          <a:srgbClr val="FFFFFF"/>
                        </a:solidFill>
                      </a:rPr>
                      <a:t>24.9</a:t>
                    </a:r>
                  </a:p>
                </c:rich>
              </c:tx>
              <c:showLegendKey val="0"/>
              <c:showVal val="1"/>
              <c:showCatName val="0"/>
              <c:showSerName val="0"/>
              <c:showPercent val="0"/>
              <c:showBubbleSize val="0"/>
            </c:dLbl>
            <c:dLbl>
              <c:idx val="2"/>
              <c:tx>
                <c:rich>
                  <a:bodyPr/>
                  <a:lstStyle/>
                  <a:p>
                    <a:r>
                      <a:rPr>
                        <a:solidFill>
                          <a:srgbClr val="FFFFFF"/>
                        </a:solidFill>
                      </a:rPr>
                      <a:t>1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7.156177</c:v>
                </c:pt>
                <c:pt idx="1">
                  <c:v>24.853706</c:v>
                </c:pt>
                <c:pt idx="2">
                  <c:v>16.3553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8.4</a:t>
                    </a:r>
                  </a:p>
                </c:rich>
              </c:tx>
              <c:showLegendKey val="0"/>
              <c:showVal val="1"/>
              <c:showCatName val="0"/>
              <c:showSerName val="0"/>
              <c:showPercent val="0"/>
              <c:showBubbleSize val="0"/>
            </c:dLbl>
            <c:dLbl>
              <c:idx val="1"/>
              <c:tx>
                <c:rich>
                  <a:bodyPr/>
                  <a:lstStyle/>
                  <a:p>
                    <a:r>
                      <a:rPr>
                        <a:solidFill>
                          <a:srgbClr val="FFFFFF"/>
                        </a:solidFill>
                      </a:rPr>
                      <a:t>7.8</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8.411243</c:v>
                </c:pt>
                <c:pt idx="1">
                  <c:v>7.830181</c:v>
                </c:pt>
                <c:pt idx="2">
                  <c:v>4.53994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969829</c:v>
                </c:pt>
                <c:pt idx="1">
                  <c:v>3.952054</c:v>
                </c:pt>
                <c:pt idx="2">
                  <c:v>2.5657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87952601592</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47398408122487e-06</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971819581446</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8180418554363315e-06</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496426162756596</c:v>
                </c:pt>
                <c:pt idx="1">
                  <c:v>0.3646942825321667</c:v>
                </c:pt>
                <c:pt idx="2">
                  <c:v>0.44733282766381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55029422957102</c:v>
                </c:pt>
                <c:pt idx="1">
                  <c:v>0.23230948940594995</c:v>
                </c:pt>
                <c:pt idx="2">
                  <c:v>0.21630975068253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978227782238233</c:v>
                </c:pt>
                <c:pt idx="1">
                  <c:v>0.18206995558063704</c:v>
                </c:pt>
                <c:pt idx="2">
                  <c:v>0.125395323771696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409595092268685</c:v>
                </c:pt>
                <c:pt idx="1">
                  <c:v>0.1714032434261167</c:v>
                </c:pt>
                <c:pt idx="2">
                  <c:v>0.1728785069865168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4190846784163562</c:v>
                </c:pt>
                <c:pt idx="1">
                  <c:v>0.049513043049752105</c:v>
                </c:pt>
                <c:pt idx="2">
                  <c:v>0.038077973537916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4637205474910863</c:v>
                </c:pt>
                <c:pt idx="1">
                  <c:v>9.986005377517204e-06</c:v>
                </c:pt>
                <c:pt idx="2">
                  <c:v>5.617357520243642e-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633511613120967</c:v>
                </c:pt>
                <c:pt idx="1">
                  <c:v>0.3447256778485461</c:v>
                </c:pt>
                <c:pt idx="2">
                  <c:v>0.41034828361258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26835077883948</c:v>
                </c:pt>
                <c:pt idx="1">
                  <c:v>0.34453567052642037</c:v>
                </c:pt>
                <c:pt idx="2">
                  <c:v>0.33213715816164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180321408630133</c:v>
                </c:pt>
                <c:pt idx="1">
                  <c:v>0.12031337226202171</c:v>
                </c:pt>
                <c:pt idx="2">
                  <c:v>0.0817546899916382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175283782006025</c:v>
                </c:pt>
                <c:pt idx="1">
                  <c:v>0.1061573116392363</c:v>
                </c:pt>
                <c:pt idx="2">
                  <c:v>0.11234339130766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495638390847168</c:v>
                </c:pt>
                <c:pt idx="1">
                  <c:v>0.08421951659252555</c:v>
                </c:pt>
                <c:pt idx="2">
                  <c:v>0.063398927929557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246894026556225</c:v>
                </c:pt>
                <c:pt idx="1">
                  <c:v>4.8451131250023e-05</c:v>
                </c:pt>
                <c:pt idx="2">
                  <c:v>1.7548996910443558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Amazon</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817230886683173</c:v>
                </c:pt>
                <c:pt idx="1">
                  <c:v>0.5356631013486517</c:v>
                </c:pt>
                <c:pt idx="2">
                  <c:v>0.57142741792443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98536401867853</c:v>
                </c:pt>
                <c:pt idx="1">
                  <c:v>0.21660511013883366</c:v>
                </c:pt>
                <c:pt idx="2">
                  <c:v>0.178705879091464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921297833212006</c:v>
                </c:pt>
                <c:pt idx="1">
                  <c:v>0.14218466597579046</c:v>
                </c:pt>
                <c:pt idx="2">
                  <c:v>0.1845317863253545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585889548057816</c:v>
                </c:pt>
                <c:pt idx="1">
                  <c:v>0.08953097082536256</c:v>
                </c:pt>
                <c:pt idx="2">
                  <c:v>0.0504714582895402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03384211043737153</c:v>
                </c:pt>
                <c:pt idx="2">
                  <c:v>0.001000837866957062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8219415452617033</c:v>
                </c:pt>
                <c:pt idx="1">
                  <c:v>0.012631940667624512</c:v>
                </c:pt>
                <c:pt idx="2">
                  <c:v>0.013862620502251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Amazon</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395280430908472</c:v>
                </c:pt>
                <c:pt idx="1">
                  <c:v>0.7277214985008956</c:v>
                </c:pt>
                <c:pt idx="2">
                  <c:v>0.774439056761388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691155563565008</c:v>
                </c:pt>
                <c:pt idx="1">
                  <c:v>0.11875521760558422</c:v>
                </c:pt>
                <c:pt idx="2">
                  <c:v>0.0933824197993541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434572795899161</c:v>
                </c:pt>
                <c:pt idx="1">
                  <c:v>0.05934478303447254</c:v>
                </c:pt>
                <c:pt idx="2">
                  <c:v>0.0716218580292636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144410404277046</c:v>
                </c:pt>
                <c:pt idx="1">
                  <c:v>0.08194975920150176</c:v>
                </c:pt>
                <c:pt idx="2">
                  <c:v>0.054322308464145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06886279286025823</c:v>
                </c:pt>
                <c:pt idx="2">
                  <c:v>0.001935258825912847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7770569271740654</c:v>
                </c:pt>
                <c:pt idx="1">
                  <c:v>0.0053424623715200344</c:v>
                </c:pt>
                <c:pt idx="2">
                  <c:v>0.00429909811993553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012592147120888</c:v>
                </c:pt>
                <c:pt idx="1">
                  <c:v>0.5225667703217182</c:v>
                </c:pt>
                <c:pt idx="2">
                  <c:v>0.56281458899581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048839833481734</c:v>
                </c:pt>
                <c:pt idx="1">
                  <c:v>0.33924836324642654</c:v>
                </c:pt>
                <c:pt idx="2">
                  <c:v>0.32501340630279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759186024025721</c:v>
                </c:pt>
                <c:pt idx="1">
                  <c:v>0.06068588639488613</c:v>
                </c:pt>
                <c:pt idx="2">
                  <c:v>0.06050448101079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808563493058551</c:v>
                </c:pt>
                <c:pt idx="1">
                  <c:v>0.02447175428958655</c:v>
                </c:pt>
                <c:pt idx="2">
                  <c:v>0.0252780430470873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4210438609003072</c:v>
                </c:pt>
                <c:pt idx="2">
                  <c:v>0.02200975170792624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7.990156806827334e-06</c:v>
                </c:pt>
                <c:pt idx="1">
                  <c:v>1.2635723464664832e-06</c:v>
                </c:pt>
                <c:pt idx="2">
                  <c:v>4.223903621538236e-0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2566901625444401</c:v>
                </c:pt>
                <c:pt idx="1">
                  <c:v>0.010921576085005416</c:v>
                </c:pt>
                <c:pt idx="2">
                  <c:v>0.004375505031954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754624152099764</c:v>
                </c:pt>
                <c:pt idx="1">
                  <c:v>0.6218074267943642</c:v>
                </c:pt>
                <c:pt idx="2">
                  <c:v>0.654105646286307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882754720822778</c:v>
                </c:pt>
                <c:pt idx="1">
                  <c:v>0.26610022853566034</c:v>
                </c:pt>
                <c:pt idx="2">
                  <c:v>0.262148115585957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274191409655262</c:v>
                </c:pt>
                <c:pt idx="1">
                  <c:v>0.04438149286641585</c:v>
                </c:pt>
                <c:pt idx="2">
                  <c:v>0.04254600655458229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923040729153567</c:v>
                </c:pt>
                <c:pt idx="1">
                  <c:v>0.02519603291594294</c:v>
                </c:pt>
                <c:pt idx="2">
                  <c:v>0.02139963775277818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29023177884328996</c:v>
                </c:pt>
                <c:pt idx="2">
                  <c:v>0.0147885465244396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6.843941870979719e-06</c:v>
                </c:pt>
                <c:pt idx="1">
                  <c:v>7.564275063516272e-07</c:v>
                </c:pt>
                <c:pt idx="2">
                  <c:v>2.7233220534846834e-0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3730872251836529</c:v>
                </c:pt>
                <c:pt idx="1">
                  <c:v>0.013490884575781271</c:v>
                </c:pt>
                <c:pt idx="2">
                  <c:v>0.00500932397388061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71214917828043</c:v>
                </c:pt>
                <c:pt idx="1">
                  <c:v>0.5243936679514245</c:v>
                </c:pt>
                <c:pt idx="2">
                  <c:v>0.57546195657149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24360792404454</c:v>
                </c:pt>
                <c:pt idx="1">
                  <c:v>0.20371435360753015</c:v>
                </c:pt>
                <c:pt idx="2">
                  <c:v>0.16392625090305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824538982319974</c:v>
                </c:pt>
                <c:pt idx="1">
                  <c:v>0.19400891055470795</c:v>
                </c:pt>
                <c:pt idx="2">
                  <c:v>0.1780226750189554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71481839318108</c:v>
                </c:pt>
                <c:pt idx="1">
                  <c:v>0.07687624545154753</c:v>
                </c:pt>
                <c:pt idx="2">
                  <c:v>0.062377923274086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4919028308873972</c:v>
                </c:pt>
                <c:pt idx="1">
                  <c:v>0.0009352743532866478</c:v>
                </c:pt>
                <c:pt idx="2">
                  <c:v>0.0201504155697045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012982691286577</c:v>
                </c:pt>
                <c:pt idx="1">
                  <c:v>7.154808150323821e-05</c:v>
                </c:pt>
                <c:pt idx="2">
                  <c:v>6.077866270321237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93540398995179</c:v>
                </c:pt>
                <c:pt idx="1">
                  <c:v>0.5755831845647962</c:v>
                </c:pt>
                <c:pt idx="2">
                  <c:v>0.64285841171918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312264064270276</c:v>
                </c:pt>
                <c:pt idx="1">
                  <c:v>0.149759722059916</c:v>
                </c:pt>
                <c:pt idx="2">
                  <c:v>0.1135301622497145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465237531861945</c:v>
                </c:pt>
                <c:pt idx="1">
                  <c:v>0.13915867211915411</c:v>
                </c:pt>
                <c:pt idx="2">
                  <c:v>0.13491012975513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352001395389583</c:v>
                </c:pt>
                <c:pt idx="1">
                  <c:v>0.1342512831168909</c:v>
                </c:pt>
                <c:pt idx="2">
                  <c:v>0.099274497219923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9135716981428925</c:v>
                </c:pt>
                <c:pt idx="1">
                  <c:v>0.0011323443153384463</c:v>
                </c:pt>
                <c:pt idx="2">
                  <c:v>0.00934891044768641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021521320383506822</c:v>
                </c:pt>
                <c:pt idx="1">
                  <c:v>0.00011479382390439535</c:v>
                </c:pt>
                <c:pt idx="2">
                  <c:v>7.78886083583131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859311377030857</c:v>
                </c:pt>
                <c:pt idx="1">
                  <c:v>0.4040566793250894</c:v>
                </c:pt>
                <c:pt idx="2">
                  <c:v>0.42376029282691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10771161848089</c:v>
                </c:pt>
                <c:pt idx="1">
                  <c:v>0.17206954146613007</c:v>
                </c:pt>
                <c:pt idx="2">
                  <c:v>0.1841852474030320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869459069182126</c:v>
                </c:pt>
                <c:pt idx="1">
                  <c:v>0.12126666814189799</c:v>
                </c:pt>
                <c:pt idx="2">
                  <c:v>0.0949865020175492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828421688157084</c:v>
                </c:pt>
                <c:pt idx="1">
                  <c:v>0.08287975300023037</c:v>
                </c:pt>
                <c:pt idx="2">
                  <c:v>0.0816922458117063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162545909289386</c:v>
                </c:pt>
                <c:pt idx="1">
                  <c:v>0.07115310304460883</c:v>
                </c:pt>
                <c:pt idx="2">
                  <c:v>0.077598926284967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753545424471275</c:v>
                </c:pt>
                <c:pt idx="1">
                  <c:v>0.06448034614554675</c:v>
                </c:pt>
                <c:pt idx="2">
                  <c:v>0.06030814995890853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1022223514711877</c:v>
                </c:pt>
                <c:pt idx="1">
                  <c:v>0.012886539917009285</c:v>
                </c:pt>
                <c:pt idx="2">
                  <c:v>0.01336886947101691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4791809556518832</c:v>
                </c:pt>
                <c:pt idx="1">
                  <c:v>0.013549434681554054</c:v>
                </c:pt>
                <c:pt idx="2">
                  <c:v>0.01235183979401463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0697273407898883</c:v>
                </c:pt>
                <c:pt idx="1">
                  <c:v>0.009007118588004093</c:v>
                </c:pt>
                <c:pt idx="2">
                  <c:v>0.001474648282535940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30340718721977127</c:v>
                </c:pt>
                <c:pt idx="1">
                  <c:v>0.04865081568992923</c:v>
                </c:pt>
                <c:pt idx="2">
                  <c:v>0.0502732781493498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091337277679185</c:v>
                </c:pt>
                <c:pt idx="1">
                  <c:v>0.21306498960082706</c:v>
                </c:pt>
                <c:pt idx="2">
                  <c:v>0.220590393246403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817680249656748</c:v>
                </c:pt>
                <c:pt idx="1">
                  <c:v>0.23870600990969001</c:v>
                </c:pt>
                <c:pt idx="2">
                  <c:v>0.231318435635479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315146547355891</c:v>
                </c:pt>
                <c:pt idx="1">
                  <c:v>0.09354514287482492</c:v>
                </c:pt>
                <c:pt idx="2">
                  <c:v>0.068648263866227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3305819573736094</c:v>
                </c:pt>
                <c:pt idx="1">
                  <c:v>0.033930496417383334</c:v>
                </c:pt>
                <c:pt idx="2">
                  <c:v>0.0344143195178257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050507102343789</c:v>
                </c:pt>
                <c:pt idx="1">
                  <c:v>0.3181501429540555</c:v>
                </c:pt>
                <c:pt idx="2">
                  <c:v>0.35319971647524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078845930077881</c:v>
                </c:pt>
                <c:pt idx="1">
                  <c:v>0.030757529018261263</c:v>
                </c:pt>
                <c:pt idx="2">
                  <c:v>0.02863788212473571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7968438658300978</c:v>
                </c:pt>
                <c:pt idx="1">
                  <c:v>0.004333893326657722</c:v>
                </c:pt>
                <c:pt idx="2">
                  <c:v>0.00430848343095307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30950871873077</c:v>
                </c:pt>
                <c:pt idx="1">
                  <c:v>0.005001967456059975</c:v>
                </c:pt>
                <c:pt idx="2">
                  <c:v>0.00465836633280159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9415016324927904</c:v>
                </c:pt>
                <c:pt idx="1">
                  <c:v>0.008470853888407289</c:v>
                </c:pt>
                <c:pt idx="2">
                  <c:v>0.001848557104890498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59204064422283</c:v>
                </c:pt>
                <c:pt idx="1">
                  <c:v>0.05403897455383291</c:v>
                </c:pt>
                <c:pt idx="2">
                  <c:v>0.0523755822654356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9354899448923203</c:v>
                </c:pt>
                <c:pt idx="1">
                  <c:v>0.3898920193697026</c:v>
                </c:pt>
                <c:pt idx="2">
                  <c:v>0.417152598384973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704561504232122</c:v>
                </c:pt>
                <c:pt idx="1">
                  <c:v>0.17851733625399446</c:v>
                </c:pt>
                <c:pt idx="2">
                  <c:v>0.1815055097877322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449408176001284</c:v>
                </c:pt>
                <c:pt idx="1">
                  <c:v>0.11771583469740328</c:v>
                </c:pt>
                <c:pt idx="2">
                  <c:v>0.1052007816587624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918864420015441</c:v>
                </c:pt>
                <c:pt idx="1">
                  <c:v>0.09405486872720616</c:v>
                </c:pt>
                <c:pt idx="2">
                  <c:v>0.098438961857339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895162605941805</c:v>
                </c:pt>
                <c:pt idx="1">
                  <c:v>0.08775229396918681</c:v>
                </c:pt>
                <c:pt idx="2">
                  <c:v>0.0890193824333095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8045741556561668</c:v>
                </c:pt>
                <c:pt idx="1">
                  <c:v>0.07114284838128854</c:v>
                </c:pt>
                <c:pt idx="2">
                  <c:v>0.066365319317347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5297032871137107</c:v>
                </c:pt>
                <c:pt idx="1">
                  <c:v>0.013017228380421192</c:v>
                </c:pt>
                <c:pt idx="2">
                  <c:v>0.01278980879109514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2053984588197996</c:v>
                </c:pt>
                <c:pt idx="1">
                  <c:v>0.01162875305225962</c:v>
                </c:pt>
                <c:pt idx="2">
                  <c:v>0.000311168230257717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8333108295819888</c:v>
                </c:pt>
                <c:pt idx="1">
                  <c:v>0.003173333870433042</c:v>
                </c:pt>
                <c:pt idx="2">
                  <c:v>0.00036274739274497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062949712808975</c:v>
                </c:pt>
                <c:pt idx="1">
                  <c:v>0.03310548329810431</c:v>
                </c:pt>
                <c:pt idx="2">
                  <c:v>0.02885372214643819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7682590940328735</c:v>
                </c:pt>
                <c:pt idx="1">
                  <c:v>0.18683875464292724</c:v>
                </c:pt>
                <c:pt idx="2">
                  <c:v>0.199317998844668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56529402493977</c:v>
                </c:pt>
                <c:pt idx="1">
                  <c:v>0.2503727188580304</c:v>
                </c:pt>
                <c:pt idx="2">
                  <c:v>0.237777837541738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403501774903053</c:v>
                </c:pt>
                <c:pt idx="1">
                  <c:v>0.0829237654180378</c:v>
                </c:pt>
                <c:pt idx="2">
                  <c:v>0.0754359584338508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152744586572491</c:v>
                </c:pt>
                <c:pt idx="1">
                  <c:v>0.03606569092953978</c:v>
                </c:pt>
                <c:pt idx="2">
                  <c:v>0.0390499291718429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452718748358308</c:v>
                </c:pt>
                <c:pt idx="1">
                  <c:v>0.35984486259008136</c:v>
                </c:pt>
                <c:pt idx="2">
                  <c:v>0.379671162961065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024468038343481</c:v>
                </c:pt>
                <c:pt idx="1">
                  <c:v>0.033636136143160314</c:v>
                </c:pt>
                <c:pt idx="2">
                  <c:v>0.02999616095189520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5227145777917869</c:v>
                </c:pt>
                <c:pt idx="1">
                  <c:v>0.004293526923310274</c:v>
                </c:pt>
                <c:pt idx="2">
                  <c:v>0.00441781488176093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8190638847165354</c:v>
                </c:pt>
                <c:pt idx="1">
                  <c:v>0.009848306393577727</c:v>
                </c:pt>
                <c:pt idx="2">
                  <c:v>0.000413000422908658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964182445667382</c:v>
                </c:pt>
                <c:pt idx="1">
                  <c:v>0.002058833118464465</c:v>
                </c:pt>
                <c:pt idx="2">
                  <c:v>0.000519002816298009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906016444254321</c:v>
                </c:pt>
                <c:pt idx="1">
                  <c:v>0.03411740498287059</c:v>
                </c:pt>
                <c:pt idx="2">
                  <c:v>0.033401133973971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817479112679613</c:v>
                </c:pt>
                <c:pt idx="1">
                  <c:v>0.42107102263356194</c:v>
                </c:pt>
                <c:pt idx="2">
                  <c:v>0.43918110024678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153078624291875</c:v>
                </c:pt>
                <c:pt idx="1">
                  <c:v>0.1755452646079926</c:v>
                </c:pt>
                <c:pt idx="2">
                  <c:v>0.193041929765804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001449370884286</c:v>
                </c:pt>
                <c:pt idx="1">
                  <c:v>0.10723308996230069</c:v>
                </c:pt>
                <c:pt idx="2">
                  <c:v>0.1292573502116138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181865048626687</c:v>
                </c:pt>
                <c:pt idx="1">
                  <c:v>0.09058065208676823</c:v>
                </c:pt>
                <c:pt idx="2">
                  <c:v>0.1243507044567337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281919277676882</c:v>
                </c:pt>
                <c:pt idx="1">
                  <c:v>0.08603302980442541</c:v>
                </c:pt>
                <c:pt idx="2">
                  <c:v>0.093377843490162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624891590842796</c:v>
                </c:pt>
                <c:pt idx="1">
                  <c:v>0.025990885746441265</c:v>
                </c:pt>
                <c:pt idx="2">
                  <c:v>0.001057388513584038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5514461406340035</c:v>
                </c:pt>
                <c:pt idx="1">
                  <c:v>0.027564718636138224</c:v>
                </c:pt>
                <c:pt idx="2">
                  <c:v>0.000282272813497541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Gillette Venu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2.414530514118804e-05</c:v>
                </c:pt>
                <c:pt idx="1">
                  <c:v>0.05931029778707355</c:v>
                </c:pt>
                <c:pt idx="2">
                  <c:v>0.001775323547270712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5933362873265208</c:v>
                </c:pt>
                <c:pt idx="1">
                  <c:v>0.0002090989345458835</c:v>
                </c:pt>
                <c:pt idx="2">
                  <c:v>0.0</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829104750817188</c:v>
                </c:pt>
                <c:pt idx="1">
                  <c:v>0.006461939800752197</c:v>
                </c:pt>
                <c:pt idx="2">
                  <c:v>0.0176760869545486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562256405525703</c:v>
                </c:pt>
                <c:pt idx="1">
                  <c:v>0.24430698994851582</c:v>
                </c:pt>
                <c:pt idx="2">
                  <c:v>0.262748496781125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809148774244136</c:v>
                </c:pt>
                <c:pt idx="1">
                  <c:v>0.2984761357958592</c:v>
                </c:pt>
                <c:pt idx="2">
                  <c:v>0.33905167132076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451765411314314</c:v>
                </c:pt>
                <c:pt idx="1">
                  <c:v>0.11170865297794713</c:v>
                </c:pt>
                <c:pt idx="2">
                  <c:v>0.127332567741061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47173727543184</c:v>
                </c:pt>
                <c:pt idx="1">
                  <c:v>0.05670511176427934</c:v>
                </c:pt>
                <c:pt idx="2">
                  <c:v>0.0705735476581189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0432992781531792</c:v>
                </c:pt>
                <c:pt idx="1">
                  <c:v>0.17153182075995538</c:v>
                </c:pt>
                <c:pt idx="2">
                  <c:v>0.1775845666450125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905594889416757</c:v>
                </c:pt>
                <c:pt idx="1">
                  <c:v>0.03199806897072365</c:v>
                </c:pt>
                <c:pt idx="2">
                  <c:v>0.001322340003017213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55946587947695</c:v>
                </c:pt>
                <c:pt idx="1">
                  <c:v>0.019009314434940503</c:v>
                </c:pt>
                <c:pt idx="2">
                  <c:v>0.0004695153677767754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Gillette Venu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459329812504324e-06</c:v>
                </c:pt>
                <c:pt idx="1">
                  <c:v>0.058613294500837874</c:v>
                </c:pt>
                <c:pt idx="2">
                  <c:v>0.003723795654596786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755194760268444</c:v>
                </c:pt>
                <c:pt idx="1">
                  <c:v>0.0007261226342656377</c:v>
                </c:pt>
                <c:pt idx="2">
                  <c:v>0.0</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9620165586587024</c:v>
                </c:pt>
                <c:pt idx="1">
                  <c:v>0.006924488212675459</c:v>
                </c:pt>
                <c:pt idx="2">
                  <c:v>0.017193498828520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171634307397078</c:v>
                </c:pt>
                <c:pt idx="1">
                  <c:v>0.39510278481074046</c:v>
                </c:pt>
                <c:pt idx="2">
                  <c:v>0.3781145776131778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156826746511112</c:v>
                </c:pt>
                <c:pt idx="1">
                  <c:v>0.11690852531464963</c:v>
                </c:pt>
                <c:pt idx="2">
                  <c:v>0.132415491178989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639631231593931</c:v>
                </c:pt>
                <c:pt idx="1">
                  <c:v>0.06462435189777849</c:v>
                </c:pt>
                <c:pt idx="2">
                  <c:v>0.0966275975426307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584856054337762</c:v>
                </c:pt>
                <c:pt idx="1">
                  <c:v>0.06098320439105404</c:v>
                </c:pt>
                <c:pt idx="2">
                  <c:v>0.0782995554301307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061770240927219</c:v>
                </c:pt>
                <c:pt idx="1">
                  <c:v>0.06066471688542982</c:v>
                </c:pt>
                <c:pt idx="2">
                  <c:v>0.0792796646340077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3092052000608886</c:v>
                </c:pt>
                <c:pt idx="1">
                  <c:v>0.11935795125365053</c:v>
                </c:pt>
                <c:pt idx="2">
                  <c:v>0.0326912960991489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804059076239492</c:v>
                </c:pt>
                <c:pt idx="1">
                  <c:v>0.03700819965905349</c:v>
                </c:pt>
                <c:pt idx="2">
                  <c:v>0.0424633133900274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3888976625250745</c:v>
                </c:pt>
                <c:pt idx="1">
                  <c:v>0.04388371690194825</c:v>
                </c:pt>
                <c:pt idx="2">
                  <c:v>0.0002482578285127565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047978678994596</c:v>
                </c:pt>
                <c:pt idx="1">
                  <c:v>0.000153272869807927</c:v>
                </c:pt>
                <c:pt idx="2">
                  <c:v>2.7377352063603503e-07</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305390034868371</c:v>
                </c:pt>
                <c:pt idx="1">
                  <c:v>0.10131327601588741</c:v>
                </c:pt>
                <c:pt idx="2">
                  <c:v>0.159859972509853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325289746802216</c:v>
                </c:pt>
                <c:pt idx="1">
                  <c:v>0.28823142817361214</c:v>
                </c:pt>
                <c:pt idx="2">
                  <c:v>0.25418222061277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2717928827564096</c:v>
                </c:pt>
                <c:pt idx="1">
                  <c:v>0.13389444310157042</c:v>
                </c:pt>
                <c:pt idx="2">
                  <c:v>0.142671955008342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405136228880684</c:v>
                </c:pt>
                <c:pt idx="1">
                  <c:v>0.047468828681882735</c:v>
                </c:pt>
                <c:pt idx="2">
                  <c:v>0.0624077762397750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909878756685653</c:v>
                </c:pt>
                <c:pt idx="1">
                  <c:v>0.12298293979252291</c:v>
                </c:pt>
                <c:pt idx="2">
                  <c:v>0.146470474013205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82021547872292</c:v>
                </c:pt>
                <c:pt idx="1">
                  <c:v>0.13593275083739143</c:v>
                </c:pt>
                <c:pt idx="2">
                  <c:v>0.1581073780700359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2111607068258141</c:v>
                </c:pt>
                <c:pt idx="1">
                  <c:v>0.07316595478880225</c:v>
                </c:pt>
                <c:pt idx="2">
                  <c:v>0.01441313537094257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188194533349018</c:v>
                </c:pt>
                <c:pt idx="1">
                  <c:v>0.05271095055384644</c:v>
                </c:pt>
                <c:pt idx="2">
                  <c:v>0.0558661291741827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31017948660080195</c:v>
                </c:pt>
                <c:pt idx="1">
                  <c:v>0.03077926286780998</c:v>
                </c:pt>
                <c:pt idx="2">
                  <c:v>0.00048375169640953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674970692281304</c:v>
                </c:pt>
                <c:pt idx="1">
                  <c:v>0.0007157894550390914</c:v>
                </c:pt>
                <c:pt idx="2">
                  <c:v>1.0576119291856895e-0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364543016288028</c:v>
                </c:pt>
                <c:pt idx="1">
                  <c:v>0.11411765174752261</c:v>
                </c:pt>
                <c:pt idx="2">
                  <c:v>0.16539612220240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2401750338406335</c:v>
                </c:pt>
                <c:pt idx="1">
                  <c:v>0.44716208675450686</c:v>
                </c:pt>
                <c:pt idx="2">
                  <c:v>0.390459439650238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267749629071617</c:v>
                </c:pt>
                <c:pt idx="1">
                  <c:v>0.15825908928139856</c:v>
                </c:pt>
                <c:pt idx="2">
                  <c:v>0.145563078049397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1218495781732154</c:v>
                </c:pt>
                <c:pt idx="1">
                  <c:v>0.12486777156493935</c:v>
                </c:pt>
                <c:pt idx="2">
                  <c:v>0.2045192702641206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049999338376704</c:v>
                </c:pt>
                <c:pt idx="1">
                  <c:v>0.0850874162816858</c:v>
                </c:pt>
                <c:pt idx="2">
                  <c:v>0.0775807260068641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1771396664412177</c:v>
                </c:pt>
                <c:pt idx="1">
                  <c:v>0.07010123700017336</c:v>
                </c:pt>
                <c:pt idx="2">
                  <c:v>0.07597280798449692</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9342061293900337</c:v>
                </c:pt>
                <c:pt idx="1">
                  <c:v>0.045459139515550445</c:v>
                </c:pt>
                <c:pt idx="2">
                  <c:v>0.04021192279957802</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390705888689615</c:v>
                </c:pt>
                <c:pt idx="1">
                  <c:v>0.005803499688092735</c:v>
                </c:pt>
                <c:pt idx="2">
                  <c:v>0.00859228012435849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74804434404336815</c:v>
                </c:pt>
                <c:pt idx="1">
                  <c:v>0.010195429198316081</c:v>
                </c:pt>
                <c:pt idx="2">
                  <c:v>0.01250580287500591</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34859160901380666</c:v>
                </c:pt>
                <c:pt idx="1">
                  <c:v>0.004615895376306942</c:v>
                </c:pt>
                <c:pt idx="2">
                  <c:v>0.00591525438314270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4965706480423125</c:v>
                </c:pt>
                <c:pt idx="1">
                  <c:v>0.04844843533902991</c:v>
                </c:pt>
                <c:pt idx="2">
                  <c:v>0.038679417862796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996145266999036</c:v>
                </c:pt>
                <c:pt idx="1">
                  <c:v>0.24793359370653492</c:v>
                </c:pt>
                <c:pt idx="2">
                  <c:v>0.2135590758910306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993206749701127</c:v>
                </c:pt>
                <c:pt idx="1">
                  <c:v>0.3198086145697722</c:v>
                </c:pt>
                <c:pt idx="2">
                  <c:v>0.27108912429269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172910205075583</c:v>
                </c:pt>
                <c:pt idx="1">
                  <c:v>0.12062600838980317</c:v>
                </c:pt>
                <c:pt idx="2">
                  <c:v>0.2071759616646467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429318060967791</c:v>
                </c:pt>
                <c:pt idx="1">
                  <c:v>0.06314851286844476</c:v>
                </c:pt>
                <c:pt idx="2">
                  <c:v>0.062588292509707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632522817294914</c:v>
                </c:pt>
                <c:pt idx="1">
                  <c:v>0.09087358547251059</c:v>
                </c:pt>
                <c:pt idx="2">
                  <c:v>0.0953756918658957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302031926593345</c:v>
                </c:pt>
                <c:pt idx="1">
                  <c:v>0.06631727698590202</c:v>
                </c:pt>
                <c:pt idx="2">
                  <c:v>0.0634755598613566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4189246404694895</c:v>
                </c:pt>
                <c:pt idx="1">
                  <c:v>0.004494219492383528</c:v>
                </c:pt>
                <c:pt idx="2">
                  <c:v>0.0094383727931697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7543000864146039</c:v>
                </c:pt>
                <c:pt idx="1">
                  <c:v>0.010902070745846825</c:v>
                </c:pt>
                <c:pt idx="2">
                  <c:v>0.012441765541411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5976440317908966</c:v>
                </c:pt>
                <c:pt idx="1">
                  <c:v>0.011493140167573522</c:v>
                </c:pt>
                <c:pt idx="2">
                  <c:v>0.01141506357060699</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6702996214693216</c:v>
                </c:pt>
                <c:pt idx="1">
                  <c:v>0.06440297760122843</c:v>
                </c:pt>
                <c:pt idx="2">
                  <c:v>0.0534410920094796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504022373115359</c:v>
                </c:pt>
                <c:pt idx="1">
                  <c:v>0.5611854050990321</c:v>
                </c:pt>
                <c:pt idx="2">
                  <c:v>0.56457232162768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935692422694953</c:v>
                </c:pt>
                <c:pt idx="1">
                  <c:v>0.3773331254377291</c:v>
                </c:pt>
                <c:pt idx="2">
                  <c:v>0.3710301034527576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6028520418968775</c:v>
                </c:pt>
                <c:pt idx="1">
                  <c:v>0.06148146946323878</c:v>
                </c:pt>
                <c:pt idx="2">
                  <c:v>0.0643975749195579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835391612704864</c:v>
                </c:pt>
                <c:pt idx="1">
                  <c:v>0.30344784590207485</c:v>
                </c:pt>
                <c:pt idx="2">
                  <c:v>0.311203773800444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58090093639501</c:v>
                </c:pt>
                <c:pt idx="1">
                  <c:v>0.633244158458753</c:v>
                </c:pt>
                <c:pt idx="2">
                  <c:v>0.62491476037759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837074509001262</c:v>
                </c:pt>
                <c:pt idx="1">
                  <c:v>0.06330799563917212</c:v>
                </c:pt>
                <c:pt idx="2">
                  <c:v>0.063881465821965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1%</a:t>
                    </a:r>
                  </a:p>
                </c:rich>
              </c:tx>
              <c:showLegendKey val="0"/>
              <c:showVal val="1"/>
              <c:showCatName val="0"/>
              <c:showSerName val="0"/>
              <c:showPercent val="0"/>
              <c:showBubbleSize val="0"/>
            </c:dLbl>
            <c:dLbl>
              <c:idx val="1"/>
              <c:tx>
                <c:rich>
                  <a:bodyPr/>
                  <a:lstStyle/>
                  <a:p>
                    <a:r>
                      <a:rPr sz="800">
                        <a:solidFill>
                          <a:srgbClr val="FFFFFF"/>
                        </a:solidFill>
                        <a:latin typeface="Nexa Book"/>
                      </a:rPr>
                      <a:t>82%</a:t>
                    </a:r>
                  </a:p>
                </c:rich>
              </c:tx>
              <c:showLegendKey val="0"/>
              <c:showVal val="1"/>
              <c:showCatName val="0"/>
              <c:showSerName val="0"/>
              <c:showPercent val="0"/>
              <c:showBubbleSize val="0"/>
            </c:dLbl>
            <c:dLbl>
              <c:idx val="2"/>
              <c:tx>
                <c:rich>
                  <a:bodyPr/>
                  <a:lstStyle/>
                  <a:p>
                    <a:r>
                      <a:rPr sz="800">
                        <a:solidFill>
                          <a:srgbClr val="FFFFFF"/>
                        </a:solidFill>
                        <a:latin typeface="Nexa Book"/>
                      </a:rPr>
                      <a:t>8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06779661731394</c:v>
                </c:pt>
                <c:pt idx="1">
                  <c:v>0.8169556862431347</c:v>
                </c:pt>
                <c:pt idx="2">
                  <c:v>0.81005198578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322033826860602</c:v>
                </c:pt>
                <c:pt idx="1">
                  <c:v>0.18304431375686528</c:v>
                </c:pt>
                <c:pt idx="2">
                  <c:v>0.189948014212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6309567463793</c:v>
                </c:pt>
                <c:pt idx="1">
                  <c:v>0.62381738970211</c:v>
                </c:pt>
                <c:pt idx="2">
                  <c:v>0.6375670724612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23690432536207</c:v>
                </c:pt>
                <c:pt idx="1">
                  <c:v>0.37618261029789</c:v>
                </c:pt>
                <c:pt idx="2">
                  <c:v>0.3624329275387130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75526</c:v>
                </c:pt>
                <c:pt idx="1">
                  <c:v>0.08705</c:v>
                </c:pt>
                <c:pt idx="2">
                  <c:v>0.0424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5791</c:v>
                </c:pt>
                <c:pt idx="1">
                  <c:v>0.014242</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1005</c:v>
                </c:pt>
                <c:pt idx="1">
                  <c:v>0.000439</c:v>
                </c:pt>
                <c:pt idx="2">
                  <c:v>8.1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1282</c:v>
                </c:pt>
                <c:pt idx="1">
                  <c:v>0.014035</c:v>
                </c:pt>
                <c:pt idx="2">
                  <c:v>0.041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310077503514501</c:v>
                </c:pt>
                <c:pt idx="1">
                  <c:v>0.5235826829448305</c:v>
                </c:pt>
                <c:pt idx="2">
                  <c:v>0.520219894943502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ystem</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0737642642025407</c:v>
                </c:pt>
                <c:pt idx="1">
                  <c:v>0.4025147183938763</c:v>
                </c:pt>
                <c:pt idx="2">
                  <c:v>0.402072688515228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615823228295834</c:v>
                </c:pt>
                <c:pt idx="1">
                  <c:v>0.07390259866129324</c:v>
                </c:pt>
                <c:pt idx="2">
                  <c:v>0.07770741654126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857363886002834</c:v>
                </c:pt>
                <c:pt idx="1">
                  <c:v>0.7689225407879118</c:v>
                </c:pt>
                <c:pt idx="2">
                  <c:v>0.76562663463412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ystem</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5166626509147957</c:v>
                </c:pt>
                <c:pt idx="1">
                  <c:v>0.15808332992499857</c:v>
                </c:pt>
                <c:pt idx="2">
                  <c:v>0.157742381360630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259734630823705</c:v>
                </c:pt>
                <c:pt idx="1">
                  <c:v>0.0729941292870897</c:v>
                </c:pt>
                <c:pt idx="2">
                  <c:v>0.0766309840052465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39713</c:v>
                </c:pt>
                <c:pt idx="1">
                  <c:v>0.036572</c:v>
                </c:pt>
                <c:pt idx="2">
                  <c:v>0.0218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8729</c:v>
                </c:pt>
                <c:pt idx="1">
                  <c:v>0.021544</c:v>
                </c:pt>
                <c:pt idx="2">
                  <c:v>0.0</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9172</c:v>
                </c:pt>
                <c:pt idx="1">
                  <c:v>0.007198</c:v>
                </c:pt>
                <c:pt idx="2">
                  <c:v>0.0011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7014</c:v>
                </c:pt>
                <c:pt idx="1">
                  <c:v>0.042051</c:v>
                </c:pt>
                <c:pt idx="2">
                  <c:v>0.1001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433319653173434</c:v>
                </c:pt>
                <c:pt idx="1">
                  <c:v>0.40194580980396927</c:v>
                </c:pt>
                <c:pt idx="2">
                  <c:v>0.379361896117360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884645322842202</c:v>
                </c:pt>
                <c:pt idx="1">
                  <c:v>0.40996335108759635</c:v>
                </c:pt>
                <c:pt idx="2">
                  <c:v>0.427324673273792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9322033826860602</c:v>
                </c:pt>
                <c:pt idx="1">
                  <c:v>0.18304431375686528</c:v>
                </c:pt>
                <c:pt idx="2">
                  <c:v>0.189948014212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3981932915439488</c:v>
                </c:pt>
                <c:pt idx="1">
                  <c:v>0.005046525351569121</c:v>
                </c:pt>
                <c:pt idx="2">
                  <c:v>0.00336541639594760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0271380419287175</c:v>
                </c:pt>
                <c:pt idx="1">
                  <c:v>0.30907069400448806</c:v>
                </c:pt>
                <c:pt idx="2">
                  <c:v>0.27579473568331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81455675355264</c:v>
                </c:pt>
                <c:pt idx="1">
                  <c:v>0.3076212843606226</c:v>
                </c:pt>
                <c:pt idx="2">
                  <c:v>0.35777491780158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23690432536207</c:v>
                </c:pt>
                <c:pt idx="1">
                  <c:v>0.37618261029789</c:v>
                </c:pt>
                <c:pt idx="2">
                  <c:v>0.3624329275387130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545019573539492</c:v>
                </c:pt>
                <c:pt idx="1">
                  <c:v>0.007125411336999359</c:v>
                </c:pt>
                <c:pt idx="2">
                  <c:v>0.0039974189763926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436189696349113</c:v>
                </c:pt>
                <c:pt idx="1">
                  <c:v>0.3532880662821773</c:v>
                </c:pt>
                <c:pt idx="2">
                  <c:v>0.318542788768559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17930127885203</c:v>
                </c:pt>
                <c:pt idx="1">
                  <c:v>0.3037038611097653</c:v>
                </c:pt>
                <c:pt idx="2">
                  <c:v>0.307221285995015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8164663635489695</c:v>
                </c:pt>
                <c:pt idx="1">
                  <c:v>0.27909057461879033</c:v>
                </c:pt>
                <c:pt idx="2">
                  <c:v>0.3067173065034158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942731870406231</c:v>
                </c:pt>
                <c:pt idx="1">
                  <c:v>0.06358151856961536</c:v>
                </c:pt>
                <c:pt idx="2">
                  <c:v>0.067517860630506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3514062517609148</c:v>
                </c:pt>
                <c:pt idx="1">
                  <c:v>0.0003359794196516992</c:v>
                </c:pt>
                <c:pt idx="2">
                  <c:v>7.581025025809864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504240077343118</c:v>
                </c:pt>
                <c:pt idx="1">
                  <c:v>0.19731658260203702</c:v>
                </c:pt>
                <c:pt idx="2">
                  <c:v>0.1832218629612570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14707203839833</c:v>
                </c:pt>
                <c:pt idx="1">
                  <c:v>0.26109896491441836</c:v>
                </c:pt>
                <c:pt idx="2">
                  <c:v>0.26333619628687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4547035519735095</c:v>
                </c:pt>
                <c:pt idx="1">
                  <c:v>0.4430884070852092</c:v>
                </c:pt>
                <c:pt idx="2">
                  <c:v>0.458802908157179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217957969084093</c:v>
                </c:pt>
                <c:pt idx="1">
                  <c:v>0.0979378552461375</c:v>
                </c:pt>
                <c:pt idx="2">
                  <c:v>0.094636234920216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8369439543935805</c:v>
                </c:pt>
                <c:pt idx="1">
                  <c:v>0.0005581901521979445</c:v>
                </c:pt>
                <c:pt idx="2">
                  <c:v>2.7976744712458832e-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414388029435842</c:v>
                </c:pt>
                <c:pt idx="1">
                  <c:v>0.4359848637110833</c:v>
                </c:pt>
                <c:pt idx="2">
                  <c:v>0.436474102807320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021613312065417</c:v>
                </c:pt>
                <c:pt idx="1">
                  <c:v>0.26558659614110713</c:v>
                </c:pt>
                <c:pt idx="2">
                  <c:v>0.268823506316372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azor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2139302652738582</c:v>
                </c:pt>
                <c:pt idx="1">
                  <c:v>0.2124909610073577</c:v>
                </c:pt>
                <c:pt idx="2">
                  <c:v>0.2169284191894505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571492077126657</c:v>
                </c:pt>
                <c:pt idx="1">
                  <c:v>0.07248661696873769</c:v>
                </c:pt>
                <c:pt idx="2">
                  <c:v>0.0743642753351462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12371166371093</c:v>
                </c:pt>
                <c:pt idx="1">
                  <c:v>0.013450962171714164</c:v>
                </c:pt>
                <c:pt idx="2">
                  <c:v>0.0034096963517101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079126667771471</c:v>
                </c:pt>
                <c:pt idx="1">
                  <c:v>0.6924927037805039</c:v>
                </c:pt>
                <c:pt idx="2">
                  <c:v>0.699835594064963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76780359307414</c:v>
                </c:pt>
                <c:pt idx="1">
                  <c:v>0.14781092395962583</c:v>
                </c:pt>
                <c:pt idx="2">
                  <c:v>0.15090398968375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azor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316195077146727</c:v>
                </c:pt>
                <c:pt idx="1">
                  <c:v>0.07054852980718036</c:v>
                </c:pt>
                <c:pt idx="2">
                  <c:v>0.0715419450611043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866834046404277</c:v>
                </c:pt>
                <c:pt idx="1">
                  <c:v>0.0736582919027579</c:v>
                </c:pt>
                <c:pt idx="2">
                  <c:v>0.073906716224767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2579006056601375</c:v>
                </c:pt>
                <c:pt idx="1">
                  <c:v>0.015489550549932023</c:v>
                </c:pt>
                <c:pt idx="2">
                  <c:v>0.003811754965407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54579136360868</c:v>
                </c:pt>
                <c:pt idx="1">
                  <c:v>0.5106738134812296</c:v>
                </c:pt>
                <c:pt idx="2">
                  <c:v>0.450539977576426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235688130785457</c:v>
                </c:pt>
                <c:pt idx="1">
                  <c:v>0.33797805841936124</c:v>
                </c:pt>
                <c:pt idx="2">
                  <c:v>0.4068861898906820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90063995081318</c:v>
                </c:pt>
                <c:pt idx="1">
                  <c:v>0.13885088783784647</c:v>
                </c:pt>
                <c:pt idx="2">
                  <c:v>0.13891584265778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3178805547926895</c:v>
                </c:pt>
                <c:pt idx="1">
                  <c:v>0.01249724026156267</c:v>
                </c:pt>
                <c:pt idx="2">
                  <c:v>0.003657989875109316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9087681552007667</c:v>
                </c:pt>
                <c:pt idx="1">
                  <c:v>0.4675289908412511</c:v>
                </c:pt>
                <c:pt idx="2">
                  <c:v>0.402331884661808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453939981192935</c:v>
                </c:pt>
                <c:pt idx="1">
                  <c:v>0.29691758905526655</c:v>
                </c:pt>
                <c:pt idx="2">
                  <c:v>0.383712763954034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4199874476860178</c:v>
                </c:pt>
                <c:pt idx="1">
                  <c:v>0.2167075719861571</c:v>
                </c:pt>
                <c:pt idx="2">
                  <c:v>0.2079801911895141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258503989939222</c:v>
                </c:pt>
                <c:pt idx="1">
                  <c:v>0.018845848117325297</c:v>
                </c:pt>
                <c:pt idx="2">
                  <c:v>0.00597516019464368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79131635908906</c:v>
                </c:pt>
                <c:pt idx="1">
                  <c:v>0.36161538772231244</c:v>
                </c:pt>
                <c:pt idx="2">
                  <c:v>0.35986376510162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22775462485196</c:v>
                </c:pt>
                <c:pt idx="1">
                  <c:v>0.31644538490922997</c:v>
                </c:pt>
                <c:pt idx="2">
                  <c:v>0.350789912836195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798979953974476</c:v>
                </c:pt>
                <c:pt idx="1">
                  <c:v>0.2031587872703799</c:v>
                </c:pt>
                <c:pt idx="2">
                  <c:v>0.159701256133534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942734213411357</c:v>
                </c:pt>
                <c:pt idx="1">
                  <c:v>0.06358151856961536</c:v>
                </c:pt>
                <c:pt idx="2">
                  <c:v>0.067517860630506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3194506140325245</c:v>
                </c:pt>
                <c:pt idx="1">
                  <c:v>0.043585439534418256</c:v>
                </c:pt>
                <c:pt idx="2">
                  <c:v>0.053760133758900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9197384615842403</c:v>
                </c:pt>
                <c:pt idx="1">
                  <c:v>0.011613481994044078</c:v>
                </c:pt>
                <c:pt idx="2">
                  <c:v>0.00836707153924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5773056382942255e-07</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3635442781078328</c:v>
                </c:pt>
                <c:pt idx="1">
                  <c:v>0.25259565559324065</c:v>
                </c:pt>
                <c:pt idx="2">
                  <c:v>0.25211847540984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288695845344277</c:v>
                </c:pt>
                <c:pt idx="1">
                  <c:v>0.31793218991278877</c:v>
                </c:pt>
                <c:pt idx="2">
                  <c:v>0.400295523441078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4957133851442403</c:v>
                </c:pt>
                <c:pt idx="1">
                  <c:v>0.23575572214060725</c:v>
                </c:pt>
                <c:pt idx="2">
                  <c:v>0.173715365107963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21796653952841</c:v>
                </c:pt>
                <c:pt idx="1">
                  <c:v>0.0979378552461375</c:v>
                </c:pt>
                <c:pt idx="2">
                  <c:v>0.094636234920216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70536342262065</c:v>
                </c:pt>
                <c:pt idx="1">
                  <c:v>0.09363272836930621</c:v>
                </c:pt>
                <c:pt idx="2">
                  <c:v>0.0769172272400915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9536756343082255</c:v>
                </c:pt>
                <c:pt idx="1">
                  <c:v>0.002145848737919618</c:v>
                </c:pt>
                <c:pt idx="2">
                  <c:v>0.00231717388080940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9996555109906735e-07</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80388865527889</c:v>
                </c:pt>
                <c:pt idx="1">
                  <c:v>0.4241117086188908</c:v>
                </c:pt>
                <c:pt idx="2">
                  <c:v>0.441207011599728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088652654877415</c:v>
                </c:pt>
                <c:pt idx="1">
                  <c:v>0.26893235450366065</c:v>
                </c:pt>
                <c:pt idx="2">
                  <c:v>0.261660143423884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989407255263277</c:v>
                </c:pt>
                <c:pt idx="1">
                  <c:v>0.1309688736189575</c:v>
                </c:pt>
                <c:pt idx="2">
                  <c:v>0.1180328009582508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037961981995339</c:v>
                </c:pt>
                <c:pt idx="1">
                  <c:v>0.09150498441394168</c:v>
                </c:pt>
                <c:pt idx="2">
                  <c:v>0.103650032990116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541609556128611</c:v>
                </c:pt>
                <c:pt idx="1">
                  <c:v>0.07279268822733227</c:v>
                </c:pt>
                <c:pt idx="2">
                  <c:v>0.0744107165190938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384730740240477</c:v>
                </c:pt>
                <c:pt idx="1">
                  <c:v>0.01168933253692225</c:v>
                </c:pt>
                <c:pt idx="2">
                  <c:v>0.001039215895986087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6.822432420198861e-08</c:v>
                </c:pt>
                <c:pt idx="1">
                  <c:v>5.808029482486938e-08</c:v>
                </c:pt>
                <c:pt idx="2">
                  <c:v>7.86129397692851e-0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359548428035148</c:v>
                </c:pt>
                <c:pt idx="1">
                  <c:v>0.2329002498431927</c:v>
                </c:pt>
                <c:pt idx="2">
                  <c:v>0.2349505469376004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95779303819274</c:v>
                </c:pt>
                <c:pt idx="1">
                  <c:v>0.24216055767816835</c:v>
                </c:pt>
                <c:pt idx="2">
                  <c:v>0.2307870023496634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948650303688739</c:v>
                </c:pt>
                <c:pt idx="1">
                  <c:v>0.08696674454045732</c:v>
                </c:pt>
                <c:pt idx="2">
                  <c:v>0.0748838976485057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5317205531459483</c:v>
                </c:pt>
                <c:pt idx="1">
                  <c:v>0.3584005456417876</c:v>
                </c:pt>
                <c:pt idx="2">
                  <c:v>0.3848311374891293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827083069904594</c:v>
                </c:pt>
                <c:pt idx="1">
                  <c:v>0.073942207871614</c:v>
                </c:pt>
                <c:pt idx="2">
                  <c:v>0.0739163777838378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8971377648903865</c:v>
                </c:pt>
                <c:pt idx="1">
                  <c:v>0.005629646249826428</c:v>
                </c:pt>
                <c:pt idx="2">
                  <c:v>0.000630973259393663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852230257989259e-08</c:v>
                </c:pt>
                <c:pt idx="1">
                  <c:v>4.817495363313997e-08</c:v>
                </c:pt>
                <c:pt idx="2">
                  <c:v>6.453186939604037e-0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098229</c:v>
                </c:pt>
                <c:pt idx="1">
                  <c:v>8.663089</c:v>
                </c:pt>
                <c:pt idx="2">
                  <c:v>6.7771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693845</c:v>
                </c:pt>
                <c:pt idx="1">
                  <c:v>4.602911</c:v>
                </c:pt>
                <c:pt idx="2">
                  <c:v>2.9245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8245</c:v>
                </c:pt>
                <c:pt idx="1">
                  <c:v>0.058462</c:v>
                </c:pt>
                <c:pt idx="2">
                  <c:v>0.10586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3615</c:v>
                </c:pt>
                <c:pt idx="1">
                  <c:v>0.022517</c:v>
                </c:pt>
                <c:pt idx="2">
                  <c:v>0.0098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6%</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579131635908906</c:v>
                </c:pt>
                <c:pt idx="1">
                  <c:v>0.36161538772231244</c:v>
                </c:pt>
                <c:pt idx="2">
                  <c:v>0.35986376510162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22775462485196</c:v>
                </c:pt>
                <c:pt idx="1">
                  <c:v>0.31644538490922997</c:v>
                </c:pt>
                <c:pt idx="2">
                  <c:v>0.350789912836195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798979953974476</c:v>
                </c:pt>
                <c:pt idx="1">
                  <c:v>0.2031587872703799</c:v>
                </c:pt>
                <c:pt idx="2">
                  <c:v>0.159701256133534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942734213411357</c:v>
                </c:pt>
                <c:pt idx="1">
                  <c:v>0.06358151856961536</c:v>
                </c:pt>
                <c:pt idx="2">
                  <c:v>0.067517860630506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3194506140325245</c:v>
                </c:pt>
                <c:pt idx="1">
                  <c:v>0.043585439534418256</c:v>
                </c:pt>
                <c:pt idx="2">
                  <c:v>0.053760133758900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9197384615842403</c:v>
                </c:pt>
                <c:pt idx="1">
                  <c:v>0.011613481994044078</c:v>
                </c:pt>
                <c:pt idx="2">
                  <c:v>0.008367071539241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5773056382942255e-07</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3635442781078328</c:v>
                </c:pt>
                <c:pt idx="1">
                  <c:v>0.25259565559324065</c:v>
                </c:pt>
                <c:pt idx="2">
                  <c:v>0.25211847540984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288695845344277</c:v>
                </c:pt>
                <c:pt idx="1">
                  <c:v>0.31793218991278877</c:v>
                </c:pt>
                <c:pt idx="2">
                  <c:v>0.4002955234410785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4957133851442403</c:v>
                </c:pt>
                <c:pt idx="1">
                  <c:v>0.23575572214060725</c:v>
                </c:pt>
                <c:pt idx="2">
                  <c:v>0.173715365107963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21796653952841</c:v>
                </c:pt>
                <c:pt idx="1">
                  <c:v>0.0979378552461375</c:v>
                </c:pt>
                <c:pt idx="2">
                  <c:v>0.094636234920216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70536342262065</c:v>
                </c:pt>
                <c:pt idx="1">
                  <c:v>0.09363272836930621</c:v>
                </c:pt>
                <c:pt idx="2">
                  <c:v>0.0769172272400915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9536756343082255</c:v>
                </c:pt>
                <c:pt idx="1">
                  <c:v>0.002145848737919618</c:v>
                </c:pt>
                <c:pt idx="2">
                  <c:v>0.00231717388080940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9996555109906735e-07</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4700294150319</c:v>
                </c:pt>
                <c:pt idx="1">
                  <c:v>0.38364000859094216</c:v>
                </c:pt>
                <c:pt idx="2">
                  <c:v>0.3954264950556856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09660783305854</c:v>
                </c:pt>
                <c:pt idx="1">
                  <c:v>0.304838673922294</c:v>
                </c:pt>
                <c:pt idx="2">
                  <c:v>0.294805443777829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650550187428317</c:v>
                </c:pt>
                <c:pt idx="1">
                  <c:v>0.12672672833681856</c:v>
                </c:pt>
                <c:pt idx="2">
                  <c:v>0.1144078455052758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793986440705305</c:v>
                </c:pt>
                <c:pt idx="1">
                  <c:v>0.1046584827253702</c:v>
                </c:pt>
                <c:pt idx="2">
                  <c:v>0.1214134716962927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479833462677834</c:v>
                </c:pt>
                <c:pt idx="1">
                  <c:v>0.074371452253818</c:v>
                </c:pt>
                <c:pt idx="2">
                  <c:v>0.073497827655688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089725988743126</c:v>
                </c:pt>
                <c:pt idx="1">
                  <c:v>0.005764654170757039</c:v>
                </c:pt>
                <c:pt idx="2">
                  <c:v>0.000448601412826788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006222378957231e-07</c:v>
                </c:pt>
                <c:pt idx="1">
                  <c:v>0.0</c:v>
                </c:pt>
                <c:pt idx="2">
                  <c:v>3.1489640097345813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148638359031378</c:v>
                </c:pt>
                <c:pt idx="1">
                  <c:v>0.19337657384757384</c:v>
                </c:pt>
                <c:pt idx="2">
                  <c:v>0.191718086998101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850908474693347</c:v>
                </c:pt>
                <c:pt idx="1">
                  <c:v>0.25523032873093426</c:v>
                </c:pt>
                <c:pt idx="2">
                  <c:v>0.239253388046287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272065161294988</c:v>
                </c:pt>
                <c:pt idx="1">
                  <c:v>0.07962970319952814</c:v>
                </c:pt>
                <c:pt idx="2">
                  <c:v>0.0675036309365730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837135840952978</c:v>
                </c:pt>
                <c:pt idx="1">
                  <c:v>0.39300380467610135</c:v>
                </c:pt>
                <c:pt idx="2">
                  <c:v>0.428360114732959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772236562595176</c:v>
                </c:pt>
                <c:pt idx="1">
                  <c:v>0.07595162364506687</c:v>
                </c:pt>
                <c:pt idx="2">
                  <c:v>0.0729095186027609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5847751069741895</c:v>
                </c:pt>
                <c:pt idx="1">
                  <c:v>0.0028079659007955752</c:v>
                </c:pt>
                <c:pt idx="2">
                  <c:v>0.000255071461164944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7925881142206075e-07</c:v>
                </c:pt>
                <c:pt idx="1">
                  <c:v>0.0</c:v>
                </c:pt>
                <c:pt idx="2">
                  <c:v>1.8922215219951358e-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0%</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011505595547281</c:v>
                </c:pt>
                <c:pt idx="1">
                  <c:v>0.5257057941630239</c:v>
                </c:pt>
                <c:pt idx="2">
                  <c:v>0.549821303634856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4 Blade</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23839316306431</c:v>
                </c:pt>
                <c:pt idx="1">
                  <c:v>0.21961967300777335</c:v>
                </c:pt>
                <c:pt idx="2">
                  <c:v>0.2215567712120160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2 Blade</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755532758394231</c:v>
                </c:pt>
                <c:pt idx="1">
                  <c:v>0.08521111109399077</c:v>
                </c:pt>
                <c:pt idx="2">
                  <c:v>0.0610944702700737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3 B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269424534031577</c:v>
                </c:pt>
                <c:pt idx="1">
                  <c:v>0.09726514231518961</c:v>
                </c:pt>
                <c:pt idx="2">
                  <c:v>0.0807078181291691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6 B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1950223844153226</c:v>
                </c:pt>
                <c:pt idx="1">
                  <c:v>0.027753742036563334</c:v>
                </c:pt>
                <c:pt idx="2">
                  <c:v>0.01722775537622415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1144947513347572</c:v>
                </c:pt>
                <c:pt idx="1">
                  <c:v>0.042580462013048784</c:v>
                </c:pt>
                <c:pt idx="2">
                  <c:v>0.0648324369946324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1 Blade</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31207645328699064</c:v>
                </c:pt>
                <c:pt idx="1">
                  <c:v>0.001864075370410277</c:v>
                </c:pt>
                <c:pt idx="2">
                  <c:v>0.00475944438302815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21.5</a:t>
                    </a:r>
                  </a:p>
                </c:rich>
              </c:tx>
              <c:showLegendKey val="0"/>
              <c:showVal val="1"/>
              <c:showCatName val="0"/>
              <c:showSerName val="0"/>
              <c:showPercent val="0"/>
              <c:showBubbleSize val="0"/>
            </c:dLbl>
            <c:dLbl>
              <c:idx val="1"/>
              <c:tx>
                <c:rich>
                  <a:bodyPr/>
                  <a:lstStyle/>
                  <a:p>
                    <a:r>
                      <a:rPr>
                        <a:solidFill>
                          <a:srgbClr val="FFFFFF"/>
                        </a:solidFill>
                      </a:rPr>
                      <a:t>24.4</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1.510947</c:v>
                </c:pt>
                <c:pt idx="1">
                  <c:v>24.396762</c:v>
                </c:pt>
                <c:pt idx="2">
                  <c:v>18.58619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191057</c:v>
                </c:pt>
                <c:pt idx="1">
                  <c:v>5.095443</c:v>
                </c:pt>
                <c:pt idx="2">
                  <c:v>3.3084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44477</c:v>
                </c:pt>
                <c:pt idx="1">
                  <c:v>0.181989</c:v>
                </c:pt>
                <c:pt idx="2">
                  <c:v>0.27106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5618</c:v>
                </c:pt>
                <c:pt idx="1">
                  <c:v>0.0613</c:v>
                </c:pt>
                <c:pt idx="2">
                  <c:v>0.0299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539109155224312</c:v>
                </c:pt>
                <c:pt idx="1">
                  <c:v>0.4681869383255715</c:v>
                </c:pt>
                <c:pt idx="2">
                  <c:v>0.48576336272633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4 Blade</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21722397836703</c:v>
                </c:pt>
                <c:pt idx="1">
                  <c:v>0.24561693142693944</c:v>
                </c:pt>
                <c:pt idx="2">
                  <c:v>0.250759137705433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2 Blade</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051494904889353</c:v>
                </c:pt>
                <c:pt idx="1">
                  <c:v>0.0674728385100154</c:v>
                </c:pt>
                <c:pt idx="2">
                  <c:v>0.0579932907058321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3 B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85098019467465</c:v>
                </c:pt>
                <c:pt idx="1">
                  <c:v>0.13772282857261953</c:v>
                </c:pt>
                <c:pt idx="2">
                  <c:v>0.1187878532112598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6 B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450444327355606</c:v>
                </c:pt>
                <c:pt idx="1">
                  <c:v>0.033630468723025775</c:v>
                </c:pt>
                <c:pt idx="2">
                  <c:v>0.02688572050267015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781015633387713</c:v>
                </c:pt>
                <c:pt idx="1">
                  <c:v>0.04586763427404446</c:v>
                </c:pt>
                <c:pt idx="2">
                  <c:v>0.05471511845182744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1 Blade</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25774940908252636</c:v>
                </c:pt>
                <c:pt idx="1">
                  <c:v>0.001502360167783862</c:v>
                </c:pt>
                <c:pt idx="2">
                  <c:v>0.00509551669663862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5%</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572841628383418</c:v>
                </c:pt>
                <c:pt idx="1">
                  <c:v>0.6500879562704801</c:v>
                </c:pt>
                <c:pt idx="2">
                  <c:v>0.67602265598195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919854393548078</c:v>
                </c:pt>
                <c:pt idx="1">
                  <c:v>0.2228650208985045</c:v>
                </c:pt>
                <c:pt idx="2">
                  <c:v>0.219715969640515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955847972589566</c:v>
                </c:pt>
                <c:pt idx="1">
                  <c:v>0.10498378667449856</c:v>
                </c:pt>
                <c:pt idx="2">
                  <c:v>0.086982576459937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3958813500281752</c:v>
                </c:pt>
                <c:pt idx="1">
                  <c:v>0.022063236156516848</c:v>
                </c:pt>
                <c:pt idx="2">
                  <c:v>0.017278797917588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506619718905091</c:v>
                </c:pt>
                <c:pt idx="1">
                  <c:v>0.757984624113917</c:v>
                </c:pt>
                <c:pt idx="2">
                  <c:v>0.773215057688296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32293487742255</c:v>
                </c:pt>
                <c:pt idx="1">
                  <c:v>0.1487834173120585</c:v>
                </c:pt>
                <c:pt idx="2">
                  <c:v>0.1452509709900659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720853231595487</c:v>
                </c:pt>
                <c:pt idx="1">
                  <c:v>0.08528497004774813</c:v>
                </c:pt>
                <c:pt idx="2">
                  <c:v>0.075343700124326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8900147019310524</c:v>
                </c:pt>
                <c:pt idx="1">
                  <c:v>0.007946988526276403</c:v>
                </c:pt>
                <c:pt idx="2">
                  <c:v>0.0061902711973106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8%</a:t>
                    </a:r>
                  </a:p>
                </c:rich>
              </c:tx>
              <c:showLegendKey val="0"/>
              <c:showVal val="1"/>
              <c:showCatName val="0"/>
              <c:showSerName val="0"/>
              <c:showPercent val="0"/>
              <c:showBubbleSize val="0"/>
            </c:dLbl>
            <c:dLbl>
              <c:idx val="1"/>
              <c:tx>
                <c:rich>
                  <a:bodyPr/>
                  <a:lstStyle/>
                  <a:p>
                    <a:r>
                      <a:rPr sz="800">
                        <a:solidFill>
                          <a:srgbClr val="FFFFFF"/>
                        </a:solidFill>
                        <a:latin typeface="Nexa Book"/>
                      </a:rPr>
                      <a:t>69%</a:t>
                    </a:r>
                  </a:p>
                </c:rich>
              </c:tx>
              <c:showLegendKey val="0"/>
              <c:showVal val="1"/>
              <c:showCatName val="0"/>
              <c:showSerName val="0"/>
              <c:showPercent val="0"/>
              <c:showBubbleSize val="0"/>
            </c:dLbl>
            <c:dLbl>
              <c:idx val="2"/>
              <c:tx>
                <c:rich>
                  <a:bodyPr/>
                  <a:lstStyle/>
                  <a:p>
                    <a:r>
                      <a:rPr sz="800">
                        <a:solidFill>
                          <a:srgbClr val="FFFFFF"/>
                        </a:solidFill>
                        <a:latin typeface="Nexa Book"/>
                      </a:rPr>
                      <a:t>7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769807393852338</c:v>
                </c:pt>
                <c:pt idx="1">
                  <c:v>0.6873785352732188</c:v>
                </c:pt>
                <c:pt idx="2">
                  <c:v>0.70653315087738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761302558787924</c:v>
                </c:pt>
                <c:pt idx="1">
                  <c:v>0.16716422780285117</c:v>
                </c:pt>
                <c:pt idx="2">
                  <c:v>0.169849976044078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4377263108343824</c:v>
                </c:pt>
                <c:pt idx="1">
                  <c:v>0.13775998238241943</c:v>
                </c:pt>
                <c:pt idx="2">
                  <c:v>0.1158926013634911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1633603943448702</c:v>
                </c:pt>
                <c:pt idx="1">
                  <c:v>0.007697254541510642</c:v>
                </c:pt>
                <c:pt idx="2">
                  <c:v>0.007724271715044318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28363</c:v>
                </c:pt>
                <c:pt idx="1">
                  <c:v>3.772753</c:v>
                </c:pt>
                <c:pt idx="2">
                  <c:v>2.91186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2055</c:v>
                </c:pt>
                <c:pt idx="1">
                  <c:v>1.128011</c:v>
                </c:pt>
                <c:pt idx="2">
                  <c:v>0.97407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4451</c:v>
                </c:pt>
                <c:pt idx="1">
                  <c:v>0.042857</c:v>
                </c:pt>
                <c:pt idx="2">
                  <c:v>0.03188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975293574929814</c:v>
                </c:pt>
                <c:pt idx="1">
                  <c:v>0.6992435165055706</c:v>
                </c:pt>
                <c:pt idx="2">
                  <c:v>0.71915158826425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28904144314897</c:v>
                </c:pt>
                <c:pt idx="1">
                  <c:v>0.14577807171003698</c:v>
                </c:pt>
                <c:pt idx="2">
                  <c:v>0.149074117397064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262183258355871</c:v>
                </c:pt>
                <c:pt idx="1">
                  <c:v>0.15074713806588774</c:v>
                </c:pt>
                <c:pt idx="2">
                  <c:v>0.127248498452399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6958395491970171</c:v>
                </c:pt>
                <c:pt idx="1">
                  <c:v>0.004231273718504665</c:v>
                </c:pt>
                <c:pt idx="2">
                  <c:v>0.004525795886284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5%</a:t>
                    </a:r>
                  </a:p>
                </c:rich>
              </c:tx>
              <c:showLegendKey val="0"/>
              <c:showVal val="1"/>
              <c:showCatName val="0"/>
              <c:showSerName val="0"/>
              <c:showPercent val="0"/>
              <c:showBubbleSize val="0"/>
            </c:dLbl>
            <c:dLbl>
              <c:idx val="1"/>
              <c:tx>
                <c:rich>
                  <a:bodyPr/>
                  <a:lstStyle/>
                  <a:p>
                    <a:r>
                      <a:rPr sz="800">
                        <a:solidFill>
                          <a:srgbClr val="FFFFFF"/>
                        </a:solidFill>
                        <a:latin typeface="Nexa Book"/>
                      </a:rPr>
                      <a:t>64%</a:t>
                    </a:r>
                  </a:p>
                </c:rich>
              </c:tx>
              <c:showLegendKey val="0"/>
              <c:showVal val="1"/>
              <c:showCatName val="0"/>
              <c:showSerName val="0"/>
              <c:showPercent val="0"/>
              <c:showBubbleSize val="0"/>
            </c:dLbl>
            <c:dLbl>
              <c:idx val="2"/>
              <c:tx>
                <c:rich>
                  <a:bodyPr/>
                  <a:lstStyle/>
                  <a:p>
                    <a:r>
                      <a:rPr sz="800">
                        <a:solidFill>
                          <a:srgbClr val="FFFFFF"/>
                        </a:solidFill>
                        <a:latin typeface="Nexa Book"/>
                      </a:rPr>
                      <a:t>6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464114910960942</c:v>
                </c:pt>
                <c:pt idx="1">
                  <c:v>0.6448760422523405</c:v>
                </c:pt>
                <c:pt idx="2">
                  <c:v>0.668508338267759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075485079995007</c:v>
                </c:pt>
                <c:pt idx="1">
                  <c:v>0.23290988677010374</c:v>
                </c:pt>
                <c:pt idx="2">
                  <c:v>0.22832051642002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121805645080443</c:v>
                </c:pt>
                <c:pt idx="1">
                  <c:v>0.10278429218606792</c:v>
                </c:pt>
                <c:pt idx="2">
                  <c:v>0.0870463712661316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1615601653151316</c:v>
                </c:pt>
                <c:pt idx="1">
                  <c:v>0.019429778791487873</c:v>
                </c:pt>
                <c:pt idx="2">
                  <c:v>0.0161247740460874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512798332223821</c:v>
                </c:pt>
                <c:pt idx="1">
                  <c:v>0.7617253081767367</c:v>
                </c:pt>
                <c:pt idx="2">
                  <c:v>0.77918016096560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408957228190313</c:v>
                </c:pt>
                <c:pt idx="1">
                  <c:v>0.14758835162235248</c:v>
                </c:pt>
                <c:pt idx="2">
                  <c:v>0.141277232497353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714722627762087</c:v>
                </c:pt>
                <c:pt idx="1">
                  <c:v>0.08424106795782473</c:v>
                </c:pt>
                <c:pt idx="2">
                  <c:v>0.0742959493119267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7483368218093919</c:v>
                </c:pt>
                <c:pt idx="1">
                  <c:v>0.006445272243086153</c:v>
                </c:pt>
                <c:pt idx="2">
                  <c:v>0.0052466572251120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0.7</a:t>
                    </a:r>
                  </a:p>
                </c:rich>
              </c:tx>
              <c:showLegendKey val="0"/>
              <c:showVal val="1"/>
              <c:showCatName val="0"/>
              <c:showSerName val="0"/>
              <c:showPercent val="0"/>
              <c:showBubbleSize val="0"/>
            </c:dLbl>
            <c:dLbl>
              <c:idx val="1"/>
              <c:tx>
                <c:rich>
                  <a:bodyPr/>
                  <a:lstStyle/>
                  <a:p>
                    <a:r>
                      <a:rPr>
                        <a:solidFill>
                          <a:srgbClr val="FFFFFF"/>
                        </a:solidFill>
                      </a:rPr>
                      <a:t>10.8</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699041</c:v>
                </c:pt>
                <c:pt idx="1">
                  <c:v>10.836192</c:v>
                </c:pt>
                <c:pt idx="2">
                  <c:v>7.8725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03405</c:v>
                </c:pt>
                <c:pt idx="1">
                  <c:v>1.742012</c:v>
                </c:pt>
                <c:pt idx="2">
                  <c:v>1.48359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3996</c:v>
                </c:pt>
                <c:pt idx="1">
                  <c:v>0.090834</c:v>
                </c:pt>
                <c:pt idx="2">
                  <c:v>0.060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607249593578587</c:v>
                </c:pt>
                <c:pt idx="1">
                  <c:v>-0.2826612381691971</c:v>
                </c:pt>
                <c:pt idx="2">
                  <c:v>0.321936278811338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5638952933711914</c:v>
                </c:pt>
                <c:pt idx="1">
                  <c:v>0.37135869069512195</c:v>
                </c:pt>
                <c:pt idx="2">
                  <c:v>0.064746015933686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0.7655317764637968</c:v>
                </c:pt>
                <c:pt idx="1">
                  <c:v>0.234468223536203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0.811104022189854</c:v>
                </c:pt>
                <c:pt idx="1">
                  <c:v>0.1888959778101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1.9598771010301825</c:v>
                </c:pt>
                <c:pt idx="1">
                  <c:v>-6.98969817458883</c:v>
                </c:pt>
                <c:pt idx="2">
                  <c:v>7.94957527561901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5218167456060886</c:v>
                </c:pt>
                <c:pt idx="1">
                  <c:v>0.4002322731105476</c:v>
                </c:pt>
                <c:pt idx="2">
                  <c:v>0.07795098128336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7906909848859266</c:v>
                </c:pt>
                <c:pt idx="1">
                  <c:v>-0.13415742507916478</c:v>
                </c:pt>
                <c:pt idx="2">
                  <c:v>0.343466440193238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4922931224116062</c:v>
                </c:pt>
                <c:pt idx="1">
                  <c:v>0.4330819658430607</c:v>
                </c:pt>
                <c:pt idx="2">
                  <c:v>0.074624911745333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0.6135313737352601</c:v>
                </c:pt>
                <c:pt idx="1">
                  <c:v>0.16425457528474802</c:v>
                </c:pt>
                <c:pt idx="2">
                  <c:v>0.23446822353620317</c:v>
                </c:pt>
                <c:pt idx="3">
                  <c:v>-0.01225417255621133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0.4275884421207631</c:v>
                </c:pt>
                <c:pt idx="1">
                  <c:v>0.380305798790392</c:v>
                </c:pt>
                <c:pt idx="2">
                  <c:v>0.188895977810146</c:v>
                </c:pt>
                <c:pt idx="3">
                  <c:v>0.003209781278698926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35276350947128776</c:v>
                </c:pt>
                <c:pt idx="1">
                  <c:v>-0.47923955189477974</c:v>
                </c:pt>
                <c:pt idx="2">
                  <c:v>-0.07267313054518275</c:v>
                </c:pt>
                <c:pt idx="3">
                  <c:v>0.05727007305803915</c:v>
                </c:pt>
                <c:pt idx="4">
                  <c:v>-0.1525938811467889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5118355170266462</c:v>
                </c:pt>
                <c:pt idx="1">
                  <c:v>0.2148167436670593</c:v>
                </c:pt>
                <c:pt idx="2">
                  <c:v>0.19019796337146064</c:v>
                </c:pt>
                <c:pt idx="3">
                  <c:v>0.07495265582752092</c:v>
                </c:pt>
                <c:pt idx="4">
                  <c:v>0.0081971201073128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1.9598771010301825</c:v>
                </c:pt>
                <c:pt idx="1">
                  <c:v>-8.397795047894451</c:v>
                </c:pt>
                <c:pt idx="2">
                  <c:v>2.4873787577564914</c:v>
                </c:pt>
                <c:pt idx="3">
                  <c:v>7.949575275619013</c:v>
                </c:pt>
                <c:pt idx="4">
                  <c:v>-1.07928188445087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5218167456060886</c:v>
                </c:pt>
                <c:pt idx="1">
                  <c:v>0.21618134508038309</c:v>
                </c:pt>
                <c:pt idx="2">
                  <c:v>0.18088847512302395</c:v>
                </c:pt>
                <c:pt idx="3">
                  <c:v>0.0779509812833638</c:v>
                </c:pt>
                <c:pt idx="4">
                  <c:v>0.00316245290714056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Rem Blades</c:v>
                </c:pt>
                <c:pt idx="5">
                  <c:v>6 Blade</c:v>
                </c:pt>
                <c:pt idx="6">
                  <c:v>1 Blade</c:v>
                </c:pt>
              </c:strCache>
            </c:strRef>
          </c:cat>
          <c:val>
            <c:numRef>
              <c:f>Sheet1!$B$2:$B$8</c:f>
              <c:numCache>
                <c:formatCode>General</c:formatCode>
                <c:ptCount val="7"/>
                <c:pt idx="0">
                  <c:v>0.6176330265875837</c:v>
                </c:pt>
                <c:pt idx="1">
                  <c:v>0.11082109204266634</c:v>
                </c:pt>
                <c:pt idx="2">
                  <c:v>0.06463297230567554</c:v>
                </c:pt>
                <c:pt idx="3">
                  <c:v>0.09163002214117084</c:v>
                </c:pt>
                <c:pt idx="4">
                  <c:v>0.12043833340049713</c:v>
                </c:pt>
                <c:pt idx="5">
                  <c:v>-0.006977322747640866</c:v>
                </c:pt>
                <c:pt idx="6">
                  <c:v>0.00182187627004728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Rem Blades</c:v>
                </c:pt>
                <c:pt idx="5">
                  <c:v>6 Blade</c:v>
                </c:pt>
                <c:pt idx="6">
                  <c:v>1 Blade</c:v>
                </c:pt>
              </c:strCache>
            </c:strRef>
          </c:cat>
          <c:val>
            <c:numRef>
              <c:f>Sheet1!$B$2:$B$8</c:f>
              <c:numCache>
                <c:formatCode>General</c:formatCode>
                <c:ptCount val="7"/>
                <c:pt idx="0">
                  <c:v>0.5099162441507488</c:v>
                </c:pt>
                <c:pt idx="1">
                  <c:v>0.26022631313374733</c:v>
                </c:pt>
                <c:pt idx="2">
                  <c:v>0.11182294211934403</c:v>
                </c:pt>
                <c:pt idx="3">
                  <c:v>0.061284692027412165</c:v>
                </c:pt>
                <c:pt idx="4">
                  <c:v>0.05040346191631466</c:v>
                </c:pt>
                <c:pt idx="5">
                  <c:v>0.005095051298115831</c:v>
                </c:pt>
                <c:pt idx="6">
                  <c:v>0.001251295354317248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6.540153021266342</c:v>
                </c:pt>
                <c:pt idx="1">
                  <c:v>-2.3300198807157058</c:v>
                </c:pt>
                <c:pt idx="2">
                  <c:v>14.089643954455088</c:v>
                </c:pt>
                <c:pt idx="3">
                  <c:v>-14.749322248328212</c:v>
                </c:pt>
                <c:pt idx="4">
                  <c:v>7.949575275619013</c:v>
                </c:pt>
                <c:pt idx="5">
                  <c:v>0.580275920236158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0.3738262557196107</c:v>
                </c:pt>
                <c:pt idx="1">
                  <c:v>0.30520091153873885</c:v>
                </c:pt>
                <c:pt idx="2">
                  <c:v>0.1258046753453012</c:v>
                </c:pt>
                <c:pt idx="3">
                  <c:v>0.11432505255952616</c:v>
                </c:pt>
                <c:pt idx="4">
                  <c:v>0.0779509812833638</c:v>
                </c:pt>
                <c:pt idx="5">
                  <c:v>0.002892123553459327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0.9730378271834532</c:v>
                </c:pt>
                <c:pt idx="1">
                  <c:v>-0.7480765549211087</c:v>
                </c:pt>
                <c:pt idx="2">
                  <c:v>-0.7483395421433972</c:v>
                </c:pt>
                <c:pt idx="3">
                  <c:v>0.5328782864856312</c:v>
                </c:pt>
                <c:pt idx="4">
                  <c:v>0.3434332310361062</c:v>
                </c:pt>
                <c:pt idx="5">
                  <c:v>0.647064798879484</c:v>
                </c:pt>
                <c:pt idx="6">
                  <c:v>1.9534798312974816e-0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0.4435098929747489</c:v>
                </c:pt>
                <c:pt idx="1">
                  <c:v>0.2530731003093744</c:v>
                </c:pt>
                <c:pt idx="2">
                  <c:v>0.12117533998791487</c:v>
                </c:pt>
                <c:pt idx="3">
                  <c:v>0.09440991718150714</c:v>
                </c:pt>
                <c:pt idx="4">
                  <c:v>0.07462497531850908</c:v>
                </c:pt>
                <c:pt idx="5">
                  <c:v>0.013206710654769574</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4192676972141638</c:v>
                </c:pt>
                <c:pt idx="1">
                  <c:v>0.5545401124733024</c:v>
                </c:pt>
                <c:pt idx="2">
                  <c:v>0.10481750458129285</c:v>
                </c:pt>
                <c:pt idx="3">
                  <c:v>-0.240089919840431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6577923669570583</c:v>
                </c:pt>
                <c:pt idx="1">
                  <c:v>0.2407969593596192</c:v>
                </c:pt>
                <c:pt idx="2">
                  <c:v>0.0787378864010594</c:v>
                </c:pt>
                <c:pt idx="3">
                  <c:v>0.0226727872822630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5636919168511938</c:v>
                </c:pt>
                <c:pt idx="1">
                  <c:v>-0.623278218049954</c:v>
                </c:pt>
                <c:pt idx="2">
                  <c:v>1.7968652474965112</c:v>
                </c:pt>
                <c:pt idx="3">
                  <c:v>-0.73727894629775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6573055734873258</c:v>
                </c:pt>
                <c:pt idx="1">
                  <c:v>0.21884674199707826</c:v>
                </c:pt>
                <c:pt idx="2">
                  <c:v>0.10596038651135953</c:v>
                </c:pt>
                <c:pt idx="3">
                  <c:v>0.01788729800423641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578</c:v>
                </c:pt>
                <c:pt idx="1">
                  <c:v>0.837311</c:v>
                </c:pt>
                <c:pt idx="2">
                  <c:v>0.5236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8893</c:v>
                </c:pt>
                <c:pt idx="1">
                  <c:v>0.056459</c:v>
                </c:pt>
                <c:pt idx="2">
                  <c:v>0.00123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7314</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5165764972934537</c:v>
                </c:pt>
                <c:pt idx="1">
                  <c:v>-0.22859132615885308</c:v>
                </c:pt>
                <c:pt idx="2">
                  <c:v>1.1340575534227897</c:v>
                </c:pt>
                <c:pt idx="3">
                  <c:v>-0.422042724557390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6588159145045551</c:v>
                </c:pt>
                <c:pt idx="1">
                  <c:v>0.21633470226936594</c:v>
                </c:pt>
                <c:pt idx="2">
                  <c:v>0.10660090966730396</c:v>
                </c:pt>
                <c:pt idx="3">
                  <c:v>0.018248473558774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0.8171806553023887</c:v>
                </c:pt>
                <c:pt idx="1">
                  <c:v>0.03232672756678083</c:v>
                </c:pt>
                <c:pt idx="2">
                  <c:v>0.22155160910870889</c:v>
                </c:pt>
                <c:pt idx="3">
                  <c:v>-0.0710589919778783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62824</c:v>
                </c:pt>
                <c:pt idx="1">
                  <c:v>2.340615</c:v>
                </c:pt>
                <c:pt idx="2">
                  <c:v>1.5899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16898</c:v>
                </c:pt>
                <c:pt idx="1">
                  <c:v>0.190077</c:v>
                </c:pt>
                <c:pt idx="2">
                  <c:v>0.004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8927</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0.5013926145011507</c:v>
                </c:pt>
                <c:pt idx="1">
                  <c:v>0.29586600837726923</c:v>
                </c:pt>
                <c:pt idx="2">
                  <c:v>0.1738306002640962</c:v>
                </c:pt>
                <c:pt idx="3">
                  <c:v>0.02891077685748393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20228627727366</c:v>
                </c:pt>
                <c:pt idx="1">
                  <c:v>1.118797556268173</c:v>
                </c:pt>
                <c:pt idx="2">
                  <c:v>-0.321083833541832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5489732596982984</c:v>
                </c:pt>
                <c:pt idx="1">
                  <c:v>0.29492199710115324</c:v>
                </c:pt>
                <c:pt idx="2">
                  <c:v>0.156104743200548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484437</c:v>
                </c:pt>
                <c:pt idx="1">
                  <c:v>2.079319</c:v>
                </c:pt>
                <c:pt idx="2">
                  <c:v>1.1929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2312</c:v>
                </c:pt>
                <c:pt idx="1">
                  <c:v>0.000281</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1456</c:v>
                </c:pt>
                <c:pt idx="1">
                  <c:v>0.019038</c:v>
                </c:pt>
                <c:pt idx="2">
                  <c:v>0.0167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1475152659209118</c:v>
                </c:pt>
                <c:pt idx="1">
                  <c:v>0.6667735741271217</c:v>
                </c:pt>
                <c:pt idx="2">
                  <c:v>-0.81428884004803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5304591472564242</c:v>
                </c:pt>
                <c:pt idx="1">
                  <c:v>0.2980972191462847</c:v>
                </c:pt>
                <c:pt idx="2">
                  <c:v>0.171443633597291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09872365641587019</c:v>
                </c:pt>
                <c:pt idx="1">
                  <c:v>1.1224193061124534</c:v>
                </c:pt>
                <c:pt idx="2">
                  <c:v>-0.0236956496965832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5582824164298615</c:v>
                </c:pt>
                <c:pt idx="1">
                  <c:v>0.29595287514160196</c:v>
                </c:pt>
                <c:pt idx="2">
                  <c:v>0.145764708428536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3.859716749471761</c:v>
                </c:pt>
                <c:pt idx="1">
                  <c:v>1.6594454914054024</c:v>
                </c:pt>
                <c:pt idx="2">
                  <c:v>1.20027125806635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81922</c:v>
                </c:pt>
                <c:pt idx="1">
                  <c:v>3.596439</c:v>
                </c:pt>
                <c:pt idx="2">
                  <c:v>2.9787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1893</c:v>
                </c:pt>
                <c:pt idx="1">
                  <c:v>0.000194</c:v>
                </c:pt>
                <c:pt idx="2">
                  <c:v>0.0</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3288</c:v>
                </c:pt>
                <c:pt idx="1">
                  <c:v>0.080984</c:v>
                </c:pt>
                <c:pt idx="2">
                  <c:v>0.070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6267894471091975</c:v>
                </c:pt>
                <c:pt idx="1">
                  <c:v>0.19812862594620256</c:v>
                </c:pt>
                <c:pt idx="2">
                  <c:v>0.175081926944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6375142927827415</c:v>
                </c:pt>
                <c:pt idx="1">
                  <c:v>-0.5259454696882088</c:v>
                </c:pt>
                <c:pt idx="2">
                  <c:v>0.1634597624709502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6260463979053142</c:v>
                </c:pt>
                <c:pt idx="1">
                  <c:v>0.18975067723473066</c:v>
                </c:pt>
                <c:pt idx="2">
                  <c:v>0.1842029248599550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6932268891518554</c:v>
                </c:pt>
                <c:pt idx="1">
                  <c:v>-0.2131213011757256</c:v>
                </c:pt>
                <c:pt idx="2">
                  <c:v>-0.093651809672419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6658146586782209</c:v>
                </c:pt>
                <c:pt idx="1">
                  <c:v>0.1811093452117946</c:v>
                </c:pt>
                <c:pt idx="2">
                  <c:v>0.15307599610998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563106239415138</c:v>
                </c:pt>
                <c:pt idx="1">
                  <c:v>-0.008976177365221764</c:v>
                </c:pt>
                <c:pt idx="2">
                  <c:v>0.0526655534237080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6044303574289137</c:v>
                </c:pt>
                <c:pt idx="1">
                  <c:v>0.29918367211296776</c:v>
                </c:pt>
                <c:pt idx="2">
                  <c:v>0.0963859704581185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0.14794543934821058</c:v>
                </c:pt>
                <c:pt idx="1">
                  <c:v>0.29072283654208647</c:v>
                </c:pt>
                <c:pt idx="2">
                  <c:v>-0.12734489949353617</c:v>
                </c:pt>
                <c:pt idx="3">
                  <c:v>0.8035188033580426</c:v>
                </c:pt>
                <c:pt idx="4">
                  <c:v>-0.008760251530054998</c:v>
                </c:pt>
                <c:pt idx="5">
                  <c:v>0.189808950471672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0.6290317844643674</c:v>
                </c:pt>
                <c:pt idx="1">
                  <c:v>0.11238722161519277</c:v>
                </c:pt>
                <c:pt idx="2">
                  <c:v>0.11229339323452638</c:v>
                </c:pt>
                <c:pt idx="3">
                  <c:v>0.08514934548344764</c:v>
                </c:pt>
                <c:pt idx="4">
                  <c:v>0.04150280480052275</c:v>
                </c:pt>
                <c:pt idx="5">
                  <c:v>0.0196354504019430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0.3007969058275927</c:v>
                </c:pt>
                <c:pt idx="1">
                  <c:v>0.7916321683275568</c:v>
                </c:pt>
                <c:pt idx="2">
                  <c:v>-0.3210838335418329</c:v>
                </c:pt>
                <c:pt idx="3">
                  <c:v>0.3271653879406161</c:v>
                </c:pt>
                <c:pt idx="4">
                  <c:v>-0.08773293403973298</c:v>
                </c:pt>
                <c:pt idx="5">
                  <c:v>-0.0107776945141997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0.4686852752532003</c:v>
                </c:pt>
                <c:pt idx="1">
                  <c:v>0.21622979039682286</c:v>
                </c:pt>
                <c:pt idx="2">
                  <c:v>0.15610474320054835</c:v>
                </c:pt>
                <c:pt idx="3">
                  <c:v>0.0786922067043304</c:v>
                </c:pt>
                <c:pt idx="4">
                  <c:v>0.059422590383812514</c:v>
                </c:pt>
                <c:pt idx="5">
                  <c:v>0.0208653940612855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0.700593508764647</c:v>
                </c:pt>
                <c:pt idx="1">
                  <c:v>-0.11960449899639662</c:v>
                </c:pt>
                <c:pt idx="2">
                  <c:v>0.046304909500291466</c:v>
                </c:pt>
                <c:pt idx="3">
                  <c:v>-0.15902596973578892</c:v>
                </c:pt>
                <c:pt idx="4">
                  <c:v>-0.010474543905674729</c:v>
                </c:pt>
                <c:pt idx="5">
                  <c:v>-0.0566063880977842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0.7672058956777429</c:v>
                </c:pt>
                <c:pt idx="1">
                  <c:v>0.10927122872344752</c:v>
                </c:pt>
                <c:pt idx="2">
                  <c:v>0.07225829581115922</c:v>
                </c:pt>
                <c:pt idx="3">
                  <c:v>0.03592787326907319</c:v>
                </c:pt>
                <c:pt idx="4">
                  <c:v>0.015282846267414463</c:v>
                </c:pt>
                <c:pt idx="5">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2.915848133554147</c:v>
                </c:pt>
                <c:pt idx="1">
                  <c:v>1.3448822644813736</c:v>
                </c:pt>
                <c:pt idx="2">
                  <c:v>1.2002712580663584</c:v>
                </c:pt>
                <c:pt idx="3">
                  <c:v>-0.9070574686387604</c:v>
                </c:pt>
                <c:pt idx="4">
                  <c:v>-0.03681114727885329</c:v>
                </c:pt>
                <c:pt idx="5">
                  <c:v>0.314563226924028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0.5045090188424527</c:v>
                </c:pt>
                <c:pt idx="1">
                  <c:v>0.18149606559169207</c:v>
                </c:pt>
                <c:pt idx="2">
                  <c:v>0.1750819269446</c:v>
                </c:pt>
                <c:pt idx="3">
                  <c:v>0.08896344122455797</c:v>
                </c:pt>
                <c:pt idx="4">
                  <c:v>0.033316987042186774</c:v>
                </c:pt>
                <c:pt idx="5">
                  <c:v>0.01663256035451047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3P</c:v>
                </c:pt>
                <c:pt idx="3">
                  <c:v>Amazon 1P</c:v>
                </c:pt>
                <c:pt idx="4">
                  <c:v>Walmart Div1 Corp</c:v>
                </c:pt>
                <c:pt idx="5">
                  <c:v>Walmart Nm Corp</c:v>
                </c:pt>
              </c:strCache>
            </c:strRef>
          </c:cat>
          <c:val>
            <c:numRef>
              <c:f>Sheet1!$B$2:$B$7</c:f>
              <c:numCache>
                <c:formatCode>General</c:formatCode>
                <c:ptCount val="6"/>
                <c:pt idx="0">
                  <c:v>-0.4926445920032433</c:v>
                </c:pt>
                <c:pt idx="1">
                  <c:v>-0.5259454696882088</c:v>
                </c:pt>
                <c:pt idx="2">
                  <c:v>0.21837539466405992</c:v>
                </c:pt>
                <c:pt idx="3">
                  <c:v>-0.05491563219310966</c:v>
                </c:pt>
                <c:pt idx="4">
                  <c:v>-0.10551397192353328</c:v>
                </c:pt>
                <c:pt idx="5">
                  <c:v>-0.039355728855964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3P</c:v>
                </c:pt>
                <c:pt idx="3">
                  <c:v>Amazon 1P</c:v>
                </c:pt>
                <c:pt idx="4">
                  <c:v>Walmart Div1 Corp</c:v>
                </c:pt>
                <c:pt idx="5">
                  <c:v>Walmart Nm Corp</c:v>
                </c:pt>
              </c:strCache>
            </c:strRef>
          </c:cat>
          <c:val>
            <c:numRef>
              <c:f>Sheet1!$B$2:$B$7</c:f>
              <c:numCache>
                <c:formatCode>General</c:formatCode>
                <c:ptCount val="6"/>
                <c:pt idx="0">
                  <c:v>0.5226449808237988</c:v>
                </c:pt>
                <c:pt idx="1">
                  <c:v>0.18975067723473066</c:v>
                </c:pt>
                <c:pt idx="2">
                  <c:v>0.09344165981431027</c:v>
                </c:pt>
                <c:pt idx="3">
                  <c:v>0.0907612650456448</c:v>
                </c:pt>
                <c:pt idx="4">
                  <c:v>0.07639973052234746</c:v>
                </c:pt>
                <c:pt idx="5">
                  <c:v>0.0270016865591679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8</a:t>
                    </a:r>
                  </a:p>
                </c:rich>
              </c:tx>
              <c:showLegendKey val="0"/>
              <c:showVal val="1"/>
              <c:showCatName val="0"/>
              <c:showSerName val="0"/>
              <c:showPercent val="0"/>
              <c:showBubbleSize val="0"/>
            </c:dLbl>
            <c:dLbl>
              <c:idx val="2"/>
              <c:tx>
                <c:rich>
                  <a:bodyPr/>
                  <a:lstStyle/>
                  <a:p>
                    <a:r>
                      <a:rPr>
                        <a:solidFill>
                          <a:srgbClr val="FFFFFF"/>
                        </a:solidFill>
                      </a:rPr>
                      <a:t>3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1.347204</c:v>
                </c:pt>
                <c:pt idx="1">
                  <c:v>49.790228</c:v>
                </c:pt>
                <c:pt idx="2">
                  <c:v>34.9595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7</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6.310772</c:v>
                </c:pt>
                <c:pt idx="1">
                  <c:v>25.734754</c:v>
                </c:pt>
                <c:pt idx="2">
                  <c:v>14.9042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5.4</a:t>
                    </a:r>
                  </a:p>
                </c:rich>
              </c:tx>
              <c:showLegendKey val="0"/>
              <c:showVal val="1"/>
              <c:showCatName val="0"/>
              <c:showSerName val="0"/>
              <c:showPercent val="0"/>
              <c:showBubbleSize val="0"/>
            </c:dLbl>
            <c:dLbl>
              <c:idx val="2"/>
              <c:tx>
                <c:rich>
                  <a:bodyPr/>
                  <a:lstStyle/>
                  <a:p>
                    <a:r>
                      <a:rPr>
                        <a:solidFill>
                          <a:srgbClr val="FFFFFF"/>
                        </a:solidFill>
                      </a:rPr>
                      <a:t>4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7.315758</c:v>
                </c:pt>
                <c:pt idx="1">
                  <c:v>65.363405</c:v>
                </c:pt>
                <c:pt idx="2">
                  <c:v>44.6918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2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7.583539</c:v>
                </c:pt>
                <c:pt idx="1">
                  <c:v>33.530287</c:v>
                </c:pt>
                <c:pt idx="2">
                  <c:v>23.11688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105</c:v>
                </c:pt>
                <c:pt idx="1">
                  <c:v>2.116825</c:v>
                </c:pt>
                <c:pt idx="2">
                  <c:v>1.34903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8.905693</c:v>
                </c:pt>
                <c:pt idx="1">
                  <c:v>8.058043</c:v>
                </c:pt>
                <c:pt idx="2">
                  <c:v>6.5139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3P</c:v>
                </c:pt>
                <c:pt idx="3">
                  <c:v>Walmart Div1 Corp</c:v>
                </c:pt>
                <c:pt idx="4">
                  <c:v>Amazon 1P</c:v>
                </c:pt>
                <c:pt idx="5">
                  <c:v>Walmart Nm Corp</c:v>
                </c:pt>
              </c:strCache>
            </c:strRef>
          </c:cat>
          <c:val>
            <c:numRef>
              <c:f>Sheet1!$B$2:$B$7</c:f>
              <c:numCache>
                <c:formatCode>General</c:formatCode>
                <c:ptCount val="6"/>
                <c:pt idx="0">
                  <c:v>-0.5935196014936434</c:v>
                </c:pt>
                <c:pt idx="1">
                  <c:v>-0.2131213011757256</c:v>
                </c:pt>
                <c:pt idx="2">
                  <c:v>-0.10314057953197618</c:v>
                </c:pt>
                <c:pt idx="3">
                  <c:v>-0.07414681082966985</c:v>
                </c:pt>
                <c:pt idx="4">
                  <c:v>0.00948876985955714</c:v>
                </c:pt>
                <c:pt idx="5">
                  <c:v>-0.0255604768285421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3P</c:v>
                </c:pt>
                <c:pt idx="3">
                  <c:v>Walmart Div1 Corp</c:v>
                </c:pt>
                <c:pt idx="4">
                  <c:v>Amazon 1P</c:v>
                </c:pt>
                <c:pt idx="5">
                  <c:v>Walmart Nm Corp</c:v>
                </c:pt>
              </c:strCache>
            </c:strRef>
          </c:cat>
          <c:val>
            <c:numRef>
              <c:f>Sheet1!$B$2:$B$7</c:f>
              <c:numCache>
                <c:formatCode>General</c:formatCode>
                <c:ptCount val="6"/>
                <c:pt idx="0">
                  <c:v>0.5633217184323093</c:v>
                </c:pt>
                <c:pt idx="1">
                  <c:v>0.1811093452117946</c:v>
                </c:pt>
                <c:pt idx="2">
                  <c:v>0.08583232290464958</c:v>
                </c:pt>
                <c:pt idx="3">
                  <c:v>0.07681524653723956</c:v>
                </c:pt>
                <c:pt idx="4">
                  <c:v>0.0672436732053349</c:v>
                </c:pt>
                <c:pt idx="5">
                  <c:v>0.02567769370867214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0.301716594477156</c:v>
                </c:pt>
                <c:pt idx="1">
                  <c:v>0.46200502592408643</c:v>
                </c:pt>
                <c:pt idx="2">
                  <c:v>0.7862061363716206</c:v>
                </c:pt>
                <c:pt idx="3">
                  <c:v>-0.19486720170379923</c:v>
                </c:pt>
                <c:pt idx="4">
                  <c:v>0.3018187631276241</c:v>
                </c:pt>
                <c:pt idx="5">
                  <c:v>-0.053446129242375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0.5523696605630734</c:v>
                </c:pt>
                <c:pt idx="1">
                  <c:v>0.15909649758105643</c:v>
                </c:pt>
                <c:pt idx="2">
                  <c:v>0.12443035813642755</c:v>
                </c:pt>
                <c:pt idx="3">
                  <c:v>0.08828915758870423</c:v>
                </c:pt>
                <c:pt idx="4">
                  <c:v>0.04268654527492872</c:v>
                </c:pt>
                <c:pt idx="5">
                  <c:v>0.0331277808558097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4">
    <c:autoUpdate val="0"/>
  </c:externalData>
</c:chartSpace>
</file>

<file path=ppt/charts/chart1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51.583956</c:v>
                </c:pt>
                <c:pt idx="1">
                  <c:v>24.3428</c:v>
                </c:pt>
                <c:pt idx="2">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1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2.5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5.162564370729364</c:v>
                </c:pt>
                <c:pt idx="1">
                  <c:v>2.4328088804699797</c:v>
                </c:pt>
                <c:pt idx="2">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37201232105267</c:v>
                </c:pt>
                <c:pt idx="1">
                  <c:v>1.0464092303139718</c:v>
                </c:pt>
                <c:pt idx="2">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81.405202</c:v>
                </c:pt>
                <c:pt idx="1">
                  <c:v>169.558645</c:v>
                </c:pt>
                <c:pt idx="2">
                  <c:v>28.3814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5</a:t>
                    </a:r>
                  </a:p>
                </c:rich>
              </c:tx>
              <c:dLblPos val="t"/>
              <c:showLegendKey val="0"/>
              <c:showVal val="1"/>
              <c:showCatName val="0"/>
              <c:showSerName val="0"/>
              <c:showPercent val="0"/>
              <c:showBubbleSize val="0"/>
            </c:dLbl>
            <c:dLbl>
              <c:idx val="1"/>
              <c:tx>
                <c:rich>
                  <a:bodyPr/>
                  <a:lstStyle/>
                  <a:p>
                    <a:r>
                      <a:t>$  1.05</a:t>
                    </a:r>
                  </a:p>
                </c:rich>
              </c:tx>
              <c:dLblPos val="t"/>
              <c:showLegendKey val="0"/>
              <c:showVal val="1"/>
              <c:showCatName val="0"/>
              <c:showSerName val="0"/>
              <c:showPercent val="0"/>
              <c:showBubbleSize val="0"/>
            </c:dLbl>
            <c:dLbl>
              <c:idx val="2"/>
              <c:tx>
                <c:rich>
                  <a:bodyPr/>
                  <a:lstStyle/>
                  <a:p>
                    <a:r>
                      <a:t>$  1.6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5545987066216926</c:v>
                </c:pt>
                <c:pt idx="1">
                  <c:v>1.0482961033565403</c:v>
                </c:pt>
                <c:pt idx="2">
                  <c:v>1.6504245782929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121499933369633</c:v>
                </c:pt>
                <c:pt idx="1">
                  <c:v>0.993817323697839</c:v>
                </c:pt>
                <c:pt idx="2">
                  <c:v>1.06034904804467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8.989407</c:v>
                </c:pt>
                <c:pt idx="1">
                  <c:v>6.894855</c:v>
                </c:pt>
                <c:pt idx="2">
                  <c:v>1.3428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97</a:t>
                    </a:r>
                  </a:p>
                </c:rich>
              </c:tx>
              <c:dLblPos val="t"/>
              <c:showLegendKey val="0"/>
              <c:showVal val="1"/>
              <c:showCatName val="0"/>
              <c:showSerName val="0"/>
              <c:showPercent val="0"/>
              <c:showBubbleSize val="0"/>
            </c:dLbl>
            <c:dLbl>
              <c:idx val="1"/>
              <c:tx>
                <c:rich>
                  <a:bodyPr/>
                  <a:lstStyle/>
                  <a:p>
                    <a:r>
                      <a:t>$  3.60</a:t>
                    </a:r>
                  </a:p>
                </c:rich>
              </c:tx>
              <c:dLblPos val="t"/>
              <c:showLegendKey val="0"/>
              <c:showVal val="1"/>
              <c:showCatName val="0"/>
              <c:showSerName val="0"/>
              <c:showPercent val="0"/>
              <c:showBubbleSize val="0"/>
            </c:dLbl>
            <c:dLbl>
              <c:idx val="2"/>
              <c:tx>
                <c:rich>
                  <a:bodyPr/>
                  <a:lstStyle/>
                  <a:p>
                    <a:r>
                      <a:t>$  1.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C$2:$C$4</c:f>
              <c:numCache>
                <c:formatCode>General</c:formatCode>
                <c:ptCount val="3"/>
                <c:pt idx="0">
                  <c:v>0.9673825303295506</c:v>
                </c:pt>
                <c:pt idx="1">
                  <c:v>3.5981316458549903</c:v>
                </c:pt>
                <c:pt idx="2">
                  <c:v>1.44231686307531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9963941232588693</c:v>
                </c:pt>
                <c:pt idx="1">
                  <c:v>0.9834511431308808</c:v>
                </c:pt>
                <c:pt idx="2">
                  <c:v>1.10897113509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54.874478</c:v>
                </c:pt>
                <c:pt idx="1">
                  <c:v>136.246761</c:v>
                </c:pt>
                <c:pt idx="2">
                  <c:v>23.4768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4</a:t>
                    </a:r>
                  </a:p>
                </c:rich>
              </c:tx>
              <c:dLblPos val="t"/>
              <c:showLegendKey val="0"/>
              <c:showVal val="1"/>
              <c:showCatName val="0"/>
              <c:showSerName val="0"/>
              <c:showPercent val="0"/>
              <c:showBubbleSize val="0"/>
            </c:dLbl>
            <c:dLbl>
              <c:idx val="1"/>
              <c:tx>
                <c:rich>
                  <a:bodyPr/>
                  <a:lstStyle/>
                  <a:p>
                    <a:r>
                      <a:t>$  1.06</a:t>
                    </a:r>
                  </a:p>
                </c:rich>
              </c:tx>
              <c:dLblPos val="t"/>
              <c:showLegendKey val="0"/>
              <c:showVal val="1"/>
              <c:showCatName val="0"/>
              <c:showSerName val="0"/>
              <c:showPercent val="0"/>
              <c:showBubbleSize val="0"/>
            </c:dLbl>
            <c:dLbl>
              <c:idx val="2"/>
              <c:tx>
                <c:rich>
                  <a:bodyPr/>
                  <a:lstStyle/>
                  <a:p>
                    <a:r>
                      <a:t>$  1.69</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541070705411556</c:v>
                </c:pt>
                <c:pt idx="1">
                  <c:v>1.058245426517648</c:v>
                </c:pt>
                <c:pt idx="2">
                  <c:v>1.68746280777231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213542532361426</c:v>
                </c:pt>
                <c:pt idx="1">
                  <c:v>0.9959837398956418</c:v>
                </c:pt>
                <c:pt idx="2">
                  <c:v>1.06373201925196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26.003408</c:v>
                </c:pt>
                <c:pt idx="1">
                  <c:v>4.2529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78</a:t>
                    </a:r>
                  </a:p>
                </c:rich>
              </c:tx>
              <c:dLblPos val="t"/>
              <c:showLegendKey val="0"/>
              <c:showVal val="1"/>
              <c:showCatName val="0"/>
              <c:showSerName val="0"/>
              <c:showPercent val="0"/>
              <c:showBubbleSize val="0"/>
            </c:dLbl>
            <c:dLbl>
              <c:idx val="1"/>
              <c:tx>
                <c:rich>
                  <a:bodyPr/>
                  <a:lstStyle/>
                  <a:p>
                    <a:r>
                      <a:t>$  1.71</a:t>
                    </a:r>
                  </a:p>
                </c:rich>
              </c:tx>
              <c:dLblPos val="t"/>
              <c:showLegendKey val="0"/>
              <c:showVal val="1"/>
              <c:showCatName val="0"/>
              <c:showSerName val="0"/>
              <c:showPercent val="0"/>
              <c:showBubbleSize val="0"/>
            </c:dLbl>
            <c:dLbl>
              <c:idx val="2"/>
              <c:tx>
                <c:rich>
                  <a:bodyPr/>
                  <a:lstStyle/>
                  <a:p>
                    <a:r>
                      <a:t>$  19.6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C$2:$C$3</c:f>
              <c:numCache>
                <c:formatCode>General</c:formatCode>
                <c:ptCount val="2"/>
                <c:pt idx="0">
                  <c:v>2.7814439535482722</c:v>
                </c:pt>
                <c:pt idx="1">
                  <c:v>1.70954650896840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1.15665964710758</c:v>
                </c:pt>
                <c:pt idx="1">
                  <c:v>1.198661093007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685.572635</c:v>
                </c:pt>
                <c:pt idx="1">
                  <c:v>451.490479</c:v>
                </c:pt>
                <c:pt idx="2">
                  <c:v>78.7169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65</a:t>
                    </a:r>
                  </a:p>
                </c:rich>
              </c:tx>
              <c:dLblPos val="t"/>
              <c:showLegendKey val="0"/>
              <c:showVal val="1"/>
              <c:showCatName val="0"/>
              <c:showSerName val="0"/>
              <c:showPercent val="0"/>
              <c:showBubbleSize val="0"/>
            </c:dLbl>
            <c:dLbl>
              <c:idx val="1"/>
              <c:tx>
                <c:rich>
                  <a:bodyPr/>
                  <a:lstStyle/>
                  <a:p>
                    <a:r>
                      <a:t>$  1.20</a:t>
                    </a:r>
                  </a:p>
                </c:rich>
              </c:tx>
              <c:dLblPos val="t"/>
              <c:showLegendKey val="0"/>
              <c:showVal val="1"/>
              <c:showCatName val="0"/>
              <c:showSerName val="0"/>
              <c:showPercent val="0"/>
              <c:showBubbleSize val="0"/>
            </c:dLbl>
            <c:dLbl>
              <c:idx val="2"/>
              <c:tx>
                <c:rich>
                  <a:bodyPr/>
                  <a:lstStyle/>
                  <a:p>
                    <a:r>
                      <a:t>$  2.0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6459113513812014</c:v>
                </c:pt>
                <c:pt idx="1">
                  <c:v>1.1984232202970873</c:v>
                </c:pt>
                <c:pt idx="2">
                  <c:v>2.0242352272092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301463646079632</c:v>
                </c:pt>
                <c:pt idx="1">
                  <c:v>0.9870947355017868</c:v>
                </c:pt>
                <c:pt idx="2">
                  <c:v>1.09338224169817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97.455356</c:v>
                </c:pt>
                <c:pt idx="1">
                  <c:v>22.6961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88</a:t>
                    </a:r>
                  </a:p>
                </c:rich>
              </c:tx>
              <c:dLblPos val="t"/>
              <c:showLegendKey val="0"/>
              <c:showVal val="1"/>
              <c:showCatName val="0"/>
              <c:showSerName val="0"/>
              <c:showPercent val="0"/>
              <c:showBubbleSize val="0"/>
            </c:dLbl>
            <c:dLbl>
              <c:idx val="1"/>
              <c:tx>
                <c:rich>
                  <a:bodyPr/>
                  <a:lstStyle/>
                  <a:p>
                    <a:r>
                      <a:t>$  1.18</a:t>
                    </a:r>
                  </a:p>
                </c:rich>
              </c:tx>
              <c:dLblPos val="t"/>
              <c:showLegendKey val="0"/>
              <c:showVal val="1"/>
              <c:showCatName val="0"/>
              <c:showSerName val="0"/>
              <c:showPercent val="0"/>
              <c:showBubbleSize val="0"/>
            </c:dLbl>
            <c:dLbl>
              <c:idx val="2"/>
              <c:tx>
                <c:rich>
                  <a:bodyPr/>
                  <a:lstStyle/>
                  <a:p>
                    <a:r>
                      <a:t>$  19.6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C$2:$C$3</c:f>
              <c:numCache>
                <c:formatCode>General</c:formatCode>
                <c:ptCount val="2"/>
                <c:pt idx="0">
                  <c:v>2.8782769870818687</c:v>
                </c:pt>
                <c:pt idx="1">
                  <c:v>1.17713837036271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1.1410099306547616</c:v>
                </c:pt>
                <c:pt idx="1">
                  <c:v>1.19407334616733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51.583956</c:v>
                </c:pt>
                <c:pt idx="1">
                  <c:v>24.3428</c:v>
                </c:pt>
                <c:pt idx="2">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1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2.5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5.162564370729364</c:v>
                </c:pt>
                <c:pt idx="1">
                  <c:v>2.4328088804699797</c:v>
                </c:pt>
                <c:pt idx="2">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25702</c:v>
                </c:pt>
                <c:pt idx="1">
                  <c:v>0.035706</c:v>
                </c:pt>
                <c:pt idx="2">
                  <c:v>0.02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19889</c:v>
                </c:pt>
                <c:pt idx="1">
                  <c:v>0.000244</c:v>
                </c:pt>
                <c:pt idx="2">
                  <c:v>1.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12146</c:v>
                </c:pt>
                <c:pt idx="2">
                  <c:v>0.012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37201232105267</c:v>
                </c:pt>
                <c:pt idx="1">
                  <c:v>1.0464092303139718</c:v>
                </c:pt>
                <c:pt idx="2">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51.583956</c:v>
                </c:pt>
                <c:pt idx="1">
                  <c:v>24.3428</c:v>
                </c:pt>
                <c:pt idx="2">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1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2.5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5.162564370729364</c:v>
                </c:pt>
                <c:pt idx="1">
                  <c:v>2.4328088804699797</c:v>
                </c:pt>
                <c:pt idx="2">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37201232105267</c:v>
                </c:pt>
                <c:pt idx="1">
                  <c:v>1.0464092303139718</c:v>
                </c:pt>
                <c:pt idx="2">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51.583956</c:v>
                </c:pt>
                <c:pt idx="1">
                  <c:v>24.3428</c:v>
                </c:pt>
                <c:pt idx="2">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1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2.5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5.162564370729364</c:v>
                </c:pt>
                <c:pt idx="1">
                  <c:v>2.4328088804699797</c:v>
                </c:pt>
                <c:pt idx="2">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37201232105267</c:v>
                </c:pt>
                <c:pt idx="1">
                  <c:v>1.0464092303139718</c:v>
                </c:pt>
                <c:pt idx="2">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62815</c:v>
                </c:pt>
                <c:pt idx="1">
                  <c:v>0.97343</c:v>
                </c:pt>
                <c:pt idx="2">
                  <c:v>0.4681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2278</c:v>
                </c:pt>
                <c:pt idx="1">
                  <c:v>0.000323</c:v>
                </c:pt>
                <c:pt idx="2">
                  <c:v>2.2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616</c:v>
                </c:pt>
                <c:pt idx="2">
                  <c:v>0.0064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81.405202</c:v>
                </c:pt>
                <c:pt idx="1">
                  <c:v>169.558645</c:v>
                </c:pt>
                <c:pt idx="2">
                  <c:v>28.3814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5</a:t>
                    </a:r>
                  </a:p>
                </c:rich>
              </c:tx>
              <c:dLblPos val="t"/>
              <c:showLegendKey val="0"/>
              <c:showVal val="1"/>
              <c:showCatName val="0"/>
              <c:showSerName val="0"/>
              <c:showPercent val="0"/>
              <c:showBubbleSize val="0"/>
            </c:dLbl>
            <c:dLbl>
              <c:idx val="1"/>
              <c:tx>
                <c:rich>
                  <a:bodyPr/>
                  <a:lstStyle/>
                  <a:p>
                    <a:r>
                      <a:t>$  1.05</a:t>
                    </a:r>
                  </a:p>
                </c:rich>
              </c:tx>
              <c:dLblPos val="t"/>
              <c:showLegendKey val="0"/>
              <c:showVal val="1"/>
              <c:showCatName val="0"/>
              <c:showSerName val="0"/>
              <c:showPercent val="0"/>
              <c:showBubbleSize val="0"/>
            </c:dLbl>
            <c:dLbl>
              <c:idx val="2"/>
              <c:tx>
                <c:rich>
                  <a:bodyPr/>
                  <a:lstStyle/>
                  <a:p>
                    <a:r>
                      <a:t>$  1.6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5545987066216926</c:v>
                </c:pt>
                <c:pt idx="1">
                  <c:v>1.0482961033565403</c:v>
                </c:pt>
                <c:pt idx="2">
                  <c:v>1.6504245782929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121499933369633</c:v>
                </c:pt>
                <c:pt idx="1">
                  <c:v>0.993817323697839</c:v>
                </c:pt>
                <c:pt idx="2">
                  <c:v>1.06034904804467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81.405202</c:v>
                </c:pt>
                <c:pt idx="1">
                  <c:v>169.558645</c:v>
                </c:pt>
                <c:pt idx="2">
                  <c:v>28.3814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5</a:t>
                    </a:r>
                  </a:p>
                </c:rich>
              </c:tx>
              <c:dLblPos val="t"/>
              <c:showLegendKey val="0"/>
              <c:showVal val="1"/>
              <c:showCatName val="0"/>
              <c:showSerName val="0"/>
              <c:showPercent val="0"/>
              <c:showBubbleSize val="0"/>
            </c:dLbl>
            <c:dLbl>
              <c:idx val="1"/>
              <c:tx>
                <c:rich>
                  <a:bodyPr/>
                  <a:lstStyle/>
                  <a:p>
                    <a:r>
                      <a:t>$  1.05</a:t>
                    </a:r>
                  </a:p>
                </c:rich>
              </c:tx>
              <c:dLblPos val="t"/>
              <c:showLegendKey val="0"/>
              <c:showVal val="1"/>
              <c:showCatName val="0"/>
              <c:showSerName val="0"/>
              <c:showPercent val="0"/>
              <c:showBubbleSize val="0"/>
            </c:dLbl>
            <c:dLbl>
              <c:idx val="2"/>
              <c:tx>
                <c:rich>
                  <a:bodyPr/>
                  <a:lstStyle/>
                  <a:p>
                    <a:r>
                      <a:t>$  1.6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5545987066216926</c:v>
                </c:pt>
                <c:pt idx="1">
                  <c:v>1.0482961033565403</c:v>
                </c:pt>
                <c:pt idx="2">
                  <c:v>1.6504245782929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121499933369633</c:v>
                </c:pt>
                <c:pt idx="1">
                  <c:v>0.993817323697839</c:v>
                </c:pt>
                <c:pt idx="2">
                  <c:v>1.06034904804467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41878</c:v>
                </c:pt>
                <c:pt idx="1">
                  <c:v>4.681844</c:v>
                </c:pt>
                <c:pt idx="2">
                  <c:v>2.7686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87302</c:v>
                </c:pt>
                <c:pt idx="1">
                  <c:v>2.534389</c:v>
                </c:pt>
                <c:pt idx="2">
                  <c:v>1.5949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048933</c:v>
                </c:pt>
                <c:pt idx="1">
                  <c:v>2.695697</c:v>
                </c:pt>
                <c:pt idx="2">
                  <c:v>1.91843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960313</c:v>
                </c:pt>
                <c:pt idx="1">
                  <c:v>0.898084</c:v>
                </c:pt>
                <c:pt idx="2">
                  <c:v>0.716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769268</c:v>
                </c:pt>
                <c:pt idx="1">
                  <c:v>2.677251</c:v>
                </c:pt>
                <c:pt idx="2">
                  <c:v>1.83868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974791</c:v>
                </c:pt>
                <c:pt idx="1">
                  <c:v>1.046156</c:v>
                </c:pt>
                <c:pt idx="2">
                  <c:v>0.647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e-06</c:v>
                </c:pt>
                <c:pt idx="1">
                  <c:v>1.23133</c:v>
                </c:pt>
                <c:pt idx="2">
                  <c:v>1.199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39847</c:v>
                </c:pt>
                <c:pt idx="1">
                  <c:v>0.363809</c:v>
                </c:pt>
                <c:pt idx="2">
                  <c:v>0.27771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772159</c:v>
                </c:pt>
                <c:pt idx="1">
                  <c:v>0.108108</c:v>
                </c:pt>
                <c:pt idx="2">
                  <c:v>0.00308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537599</c:v>
                </c:pt>
                <c:pt idx="1">
                  <c:v>0.646883</c:v>
                </c:pt>
                <c:pt idx="2">
                  <c:v>0.4892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51.583956</c:v>
                </c:pt>
                <c:pt idx="1">
                  <c:v>24.3428</c:v>
                </c:pt>
                <c:pt idx="2">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1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2.5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5.162564370729364</c:v>
                </c:pt>
                <c:pt idx="1">
                  <c:v>2.4328088804699797</c:v>
                </c:pt>
                <c:pt idx="2">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0.937201232105267</c:v>
                </c:pt>
                <c:pt idx="1">
                  <c:v>1.0464092303139718</c:v>
                </c:pt>
                <c:pt idx="2">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9.0</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094079</c:v>
                </c:pt>
                <c:pt idx="1">
                  <c:v>9.037836</c:v>
                </c:pt>
                <c:pt idx="2">
                  <c:v>5.3437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73353</c:v>
                </c:pt>
                <c:pt idx="1">
                  <c:v>4.599248</c:v>
                </c:pt>
                <c:pt idx="2">
                  <c:v>2.853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075856</c:v>
                </c:pt>
                <c:pt idx="1">
                  <c:v>2.790203</c:v>
                </c:pt>
                <c:pt idx="2">
                  <c:v>1.9691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535795</c:v>
                </c:pt>
                <c:pt idx="1">
                  <c:v>2.552904</c:v>
                </c:pt>
                <c:pt idx="2">
                  <c:v>2.1445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66304</c:v>
                </c:pt>
                <c:pt idx="1">
                  <c:v>2.486406</c:v>
                </c:pt>
                <c:pt idx="2">
                  <c:v>1.76985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913346</c:v>
                </c:pt>
                <c:pt idx="1">
                  <c:v>1.534463</c:v>
                </c:pt>
                <c:pt idx="2">
                  <c:v>0.95172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e-06</c:v>
                </c:pt>
                <c:pt idx="1">
                  <c:v>2.043435</c:v>
                </c:pt>
                <c:pt idx="2">
                  <c:v>1.97909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184054</c:v>
                </c:pt>
                <c:pt idx="1">
                  <c:v>1.314684</c:v>
                </c:pt>
                <c:pt idx="2">
                  <c:v>1.01181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217349</c:v>
                </c:pt>
                <c:pt idx="1">
                  <c:v>0.214898</c:v>
                </c:pt>
                <c:pt idx="2">
                  <c:v>0.0073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69655</c:v>
                </c:pt>
                <c:pt idx="1">
                  <c:v>0.998771</c:v>
                </c:pt>
                <c:pt idx="2">
                  <c:v>0.9000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24.322477</c:v>
                </c:pt>
                <c:pt idx="1">
                  <c:v>19.635869</c:v>
                </c:pt>
                <c:pt idx="2">
                  <c:v>3.5617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3</a:t>
                    </a:r>
                  </a:p>
                </c:rich>
              </c:tx>
              <c:dLblPos val="t"/>
              <c:showLegendKey val="0"/>
              <c:showVal val="1"/>
              <c:showCatName val="0"/>
              <c:showSerName val="0"/>
              <c:showPercent val="0"/>
              <c:showBubbleSize val="0"/>
            </c:dLbl>
            <c:dLbl>
              <c:idx val="1"/>
              <c:tx>
                <c:rich>
                  <a:bodyPr/>
                  <a:lstStyle/>
                  <a:p>
                    <a:r>
                      <a:t>$  3.65</a:t>
                    </a:r>
                  </a:p>
                </c:rich>
              </c:tx>
              <c:dLblPos val="t"/>
              <c:showLegendKey val="0"/>
              <c:showVal val="1"/>
              <c:showCatName val="0"/>
              <c:showSerName val="0"/>
              <c:showPercent val="0"/>
              <c:showBubbleSize val="0"/>
            </c:dLbl>
            <c:dLbl>
              <c:idx val="2"/>
              <c:tx>
                <c:rich>
                  <a:bodyPr/>
                  <a:lstStyle/>
                  <a:p>
                    <a:r>
                      <a:t>$  1.51</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C$2:$C$4</c:f>
              <c:numCache>
                <c:formatCode>General</c:formatCode>
                <c:ptCount val="3"/>
                <c:pt idx="0">
                  <c:v>1.0259789634989473</c:v>
                </c:pt>
                <c:pt idx="1">
                  <c:v>3.6490497930624106</c:v>
                </c:pt>
                <c:pt idx="2">
                  <c:v>1.513769780858223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9809276194311005</c:v>
                </c:pt>
                <c:pt idx="1">
                  <c:v>0.9541092544015969</c:v>
                </c:pt>
                <c:pt idx="2">
                  <c:v>1.02203023658938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24.322477</c:v>
                </c:pt>
                <c:pt idx="1">
                  <c:v>19.635869</c:v>
                </c:pt>
                <c:pt idx="2">
                  <c:v>3.5617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3</a:t>
                    </a:r>
                  </a:p>
                </c:rich>
              </c:tx>
              <c:dLblPos val="t"/>
              <c:showLegendKey val="0"/>
              <c:showVal val="1"/>
              <c:showCatName val="0"/>
              <c:showSerName val="0"/>
              <c:showPercent val="0"/>
              <c:showBubbleSize val="0"/>
            </c:dLbl>
            <c:dLbl>
              <c:idx val="1"/>
              <c:tx>
                <c:rich>
                  <a:bodyPr/>
                  <a:lstStyle/>
                  <a:p>
                    <a:r>
                      <a:t>$  3.65</a:t>
                    </a:r>
                  </a:p>
                </c:rich>
              </c:tx>
              <c:dLblPos val="t"/>
              <c:showLegendKey val="0"/>
              <c:showVal val="1"/>
              <c:showCatName val="0"/>
              <c:showSerName val="0"/>
              <c:showPercent val="0"/>
              <c:showBubbleSize val="0"/>
            </c:dLbl>
            <c:dLbl>
              <c:idx val="2"/>
              <c:tx>
                <c:rich>
                  <a:bodyPr/>
                  <a:lstStyle/>
                  <a:p>
                    <a:r>
                      <a:t>$  1.51</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C$2:$C$4</c:f>
              <c:numCache>
                <c:formatCode>General</c:formatCode>
                <c:ptCount val="3"/>
                <c:pt idx="0">
                  <c:v>1.0259789634989473</c:v>
                </c:pt>
                <c:pt idx="1">
                  <c:v>3.6490497930624106</c:v>
                </c:pt>
                <c:pt idx="2">
                  <c:v>1.513769780858223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9809276194311005</c:v>
                </c:pt>
                <c:pt idx="1">
                  <c:v>0.9541092544015969</c:v>
                </c:pt>
                <c:pt idx="2">
                  <c:v>1.02203023658938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8.989407</c:v>
                </c:pt>
                <c:pt idx="1">
                  <c:v>6.894855</c:v>
                </c:pt>
                <c:pt idx="2">
                  <c:v>1.3428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97</a:t>
                    </a:r>
                  </a:p>
                </c:rich>
              </c:tx>
              <c:dLblPos val="t"/>
              <c:showLegendKey val="0"/>
              <c:showVal val="1"/>
              <c:showCatName val="0"/>
              <c:showSerName val="0"/>
              <c:showPercent val="0"/>
              <c:showBubbleSize val="0"/>
            </c:dLbl>
            <c:dLbl>
              <c:idx val="1"/>
              <c:tx>
                <c:rich>
                  <a:bodyPr/>
                  <a:lstStyle/>
                  <a:p>
                    <a:r>
                      <a:t>$  3.60</a:t>
                    </a:r>
                  </a:p>
                </c:rich>
              </c:tx>
              <c:dLblPos val="t"/>
              <c:showLegendKey val="0"/>
              <c:showVal val="1"/>
              <c:showCatName val="0"/>
              <c:showSerName val="0"/>
              <c:showPercent val="0"/>
              <c:showBubbleSize val="0"/>
            </c:dLbl>
            <c:dLbl>
              <c:idx val="2"/>
              <c:tx>
                <c:rich>
                  <a:bodyPr/>
                  <a:lstStyle/>
                  <a:p>
                    <a:r>
                      <a:t>$  1.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C$2:$C$4</c:f>
              <c:numCache>
                <c:formatCode>General</c:formatCode>
                <c:ptCount val="3"/>
                <c:pt idx="0">
                  <c:v>0.9673825303295506</c:v>
                </c:pt>
                <c:pt idx="1">
                  <c:v>3.5981316458549903</c:v>
                </c:pt>
                <c:pt idx="2">
                  <c:v>1.44231686307531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9963941232588693</c:v>
                </c:pt>
                <c:pt idx="1">
                  <c:v>0.9834511431308808</c:v>
                </c:pt>
                <c:pt idx="2">
                  <c:v>1.10897113509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8.989407</c:v>
                </c:pt>
                <c:pt idx="1">
                  <c:v>6.894855</c:v>
                </c:pt>
                <c:pt idx="2">
                  <c:v>1.3428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97</a:t>
                    </a:r>
                  </a:p>
                </c:rich>
              </c:tx>
              <c:dLblPos val="t"/>
              <c:showLegendKey val="0"/>
              <c:showVal val="1"/>
              <c:showCatName val="0"/>
              <c:showSerName val="0"/>
              <c:showPercent val="0"/>
              <c:showBubbleSize val="0"/>
            </c:dLbl>
            <c:dLbl>
              <c:idx val="1"/>
              <c:tx>
                <c:rich>
                  <a:bodyPr/>
                  <a:lstStyle/>
                  <a:p>
                    <a:r>
                      <a:t>$  3.60</a:t>
                    </a:r>
                  </a:p>
                </c:rich>
              </c:tx>
              <c:dLblPos val="t"/>
              <c:showLegendKey val="0"/>
              <c:showVal val="1"/>
              <c:showCatName val="0"/>
              <c:showSerName val="0"/>
              <c:showPercent val="0"/>
              <c:showBubbleSize val="0"/>
            </c:dLbl>
            <c:dLbl>
              <c:idx val="2"/>
              <c:tx>
                <c:rich>
                  <a:bodyPr/>
                  <a:lstStyle/>
                  <a:p>
                    <a:r>
                      <a:t>$  1.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C$2:$C$4</c:f>
              <c:numCache>
                <c:formatCode>General</c:formatCode>
                <c:ptCount val="3"/>
                <c:pt idx="0">
                  <c:v>0.9673825303295506</c:v>
                </c:pt>
                <c:pt idx="1">
                  <c:v>3.5981316458549903</c:v>
                </c:pt>
                <c:pt idx="2">
                  <c:v>1.44231686307531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posable</c:v>
                </c:pt>
                <c:pt idx="1">
                  <c:v>System</c:v>
                </c:pt>
                <c:pt idx="2">
                  <c:v>Dermaplane</c:v>
                </c:pt>
              </c:strCache>
            </c:strRef>
          </c:cat>
          <c:val>
            <c:numRef>
              <c:f>Sheet1!$B$2:$B$4</c:f>
              <c:numCache>
                <c:formatCode>General</c:formatCode>
                <c:ptCount val="3"/>
                <c:pt idx="0">
                  <c:v>0.9963941232588693</c:v>
                </c:pt>
                <c:pt idx="1">
                  <c:v>0.9834511431308808</c:v>
                </c:pt>
                <c:pt idx="2">
                  <c:v>1.1089711350984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28.5</a:t>
                    </a:r>
                  </a:p>
                </c:rich>
              </c:tx>
              <c:showLegendKey val="0"/>
              <c:showVal val="1"/>
              <c:showCatName val="0"/>
              <c:showSerName val="0"/>
              <c:showPercent val="0"/>
              <c:showBubbleSize val="0"/>
            </c:dLbl>
            <c:dLbl>
              <c:idx val="1"/>
              <c:tx>
                <c:rich>
                  <a:bodyPr/>
                  <a:lstStyle/>
                  <a:p>
                    <a:r>
                      <a:rPr>
                        <a:solidFill>
                          <a:srgbClr val="FFFFFF"/>
                        </a:solidFill>
                      </a:rPr>
                      <a:t>127.3</a:t>
                    </a:r>
                  </a:p>
                </c:rich>
              </c:tx>
              <c:showLegendKey val="0"/>
              <c:showVal val="1"/>
              <c:showCatName val="0"/>
              <c:showSerName val="0"/>
              <c:showPercent val="0"/>
              <c:showBubbleSize val="0"/>
            </c:dLbl>
            <c:dLbl>
              <c:idx val="2"/>
              <c:tx>
                <c:rich>
                  <a:bodyPr/>
                  <a:lstStyle/>
                  <a:p>
                    <a:r>
                      <a:rPr>
                        <a:solidFill>
                          <a:srgbClr val="FFFFFF"/>
                        </a:solidFill>
                      </a:rPr>
                      <a:t>9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8.543876</c:v>
                </c:pt>
                <c:pt idx="1">
                  <c:v>127.298305</c:v>
                </c:pt>
                <c:pt idx="2">
                  <c:v>91.79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83.5</a:t>
                    </a:r>
                  </a:p>
                </c:rich>
              </c:tx>
              <c:showLegendKey val="0"/>
              <c:showVal val="1"/>
              <c:showCatName val="0"/>
              <c:showSerName val="0"/>
              <c:showPercent val="0"/>
              <c:showBubbleSize val="0"/>
            </c:dLbl>
            <c:dLbl>
              <c:idx val="1"/>
              <c:tx>
                <c:rich>
                  <a:bodyPr/>
                  <a:lstStyle/>
                  <a:p>
                    <a:r>
                      <a:rPr>
                        <a:solidFill>
                          <a:srgbClr val="FFFFFF"/>
                        </a:solidFill>
                      </a:rPr>
                      <a:t>81.8</a:t>
                    </a:r>
                  </a:p>
                </c:rich>
              </c:tx>
              <c:showLegendKey val="0"/>
              <c:showVal val="1"/>
              <c:showCatName val="0"/>
              <c:showSerName val="0"/>
              <c:showPercent val="0"/>
              <c:showBubbleSize val="0"/>
            </c:dLbl>
            <c:dLbl>
              <c:idx val="2"/>
              <c:tx>
                <c:rich>
                  <a:bodyPr/>
                  <a:lstStyle/>
                  <a:p>
                    <a:r>
                      <a:rPr>
                        <a:solidFill>
                          <a:srgbClr val="FFFFFF"/>
                        </a:solidFill>
                      </a:rPr>
                      <a:t>4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3.494571</c:v>
                </c:pt>
                <c:pt idx="1">
                  <c:v>81.807129</c:v>
                </c:pt>
                <c:pt idx="2">
                  <c:v>47.8949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52.5</a:t>
                    </a:r>
                  </a:p>
                </c:rich>
              </c:tx>
              <c:showLegendKey val="0"/>
              <c:showVal val="1"/>
              <c:showCatName val="0"/>
              <c:showSerName val="0"/>
              <c:showPercent val="0"/>
              <c:showBubbleSize val="0"/>
            </c:dLbl>
            <c:dLbl>
              <c:idx val="1"/>
              <c:tx>
                <c:rich>
                  <a:bodyPr/>
                  <a:lstStyle/>
                  <a:p>
                    <a:r>
                      <a:rPr>
                        <a:solidFill>
                          <a:srgbClr val="FFFFFF"/>
                        </a:solidFill>
                      </a:rPr>
                      <a:t>53.3</a:t>
                    </a:r>
                  </a:p>
                </c:rich>
              </c:tx>
              <c:showLegendKey val="0"/>
              <c:showVal val="1"/>
              <c:showCatName val="0"/>
              <c:showSerName val="0"/>
              <c:showPercent val="0"/>
              <c:showBubbleSize val="0"/>
            </c:dLbl>
            <c:dLbl>
              <c:idx val="2"/>
              <c:tx>
                <c:rich>
                  <a:bodyPr/>
                  <a:lstStyle/>
                  <a:p>
                    <a:r>
                      <a:rPr>
                        <a:solidFill>
                          <a:srgbClr val="FFFFFF"/>
                        </a:solidFill>
                      </a:rPr>
                      <a:t>3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2.515621</c:v>
                </c:pt>
                <c:pt idx="1">
                  <c:v>53.294217</c:v>
                </c:pt>
                <c:pt idx="2">
                  <c:v>32.1293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a:solidFill>
                          <a:srgbClr val="FFFFFF"/>
                        </a:solidFill>
                      </a:rPr>
                      <a:t>33.3</a:t>
                    </a:r>
                  </a:p>
                </c:rich>
              </c:tx>
              <c:showLegendKey val="0"/>
              <c:showVal val="1"/>
              <c:showCatName val="0"/>
              <c:showSerName val="0"/>
              <c:showPercent val="0"/>
              <c:showBubbleSize val="0"/>
            </c:dLbl>
            <c:dLbl>
              <c:idx val="1"/>
              <c:tx>
                <c:rich>
                  <a:bodyPr/>
                  <a:lstStyle/>
                  <a:p>
                    <a:r>
                      <a:rPr>
                        <a:solidFill>
                          <a:srgbClr val="FFFFFF"/>
                        </a:solidFill>
                      </a:rPr>
                      <a:t>33.5</a:t>
                    </a:r>
                  </a:p>
                </c:rich>
              </c:tx>
              <c:showLegendKey val="0"/>
              <c:showVal val="1"/>
              <c:showCatName val="0"/>
              <c:showSerName val="0"/>
              <c:showPercent val="0"/>
              <c:showBubbleSize val="0"/>
            </c:dLbl>
            <c:dLbl>
              <c:idx val="2"/>
              <c:tx>
                <c:rich>
                  <a:bodyPr/>
                  <a:lstStyle/>
                  <a:p>
                    <a:r>
                      <a:rPr>
                        <a:solidFill>
                          <a:srgbClr val="FFFFFF"/>
                        </a:solidFill>
                      </a:rPr>
                      <a:t>2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3.29378</c:v>
                </c:pt>
                <c:pt idx="1">
                  <c:v>33.466244</c:v>
                </c:pt>
                <c:pt idx="2">
                  <c:v>24.92773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410212</c:v>
                </c:pt>
                <c:pt idx="1">
                  <c:v>3.857385</c:v>
                </c:pt>
                <c:pt idx="2">
                  <c:v>2.41835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2.9</a:t>
                    </a:r>
                  </a:p>
                </c:rich>
              </c:tx>
              <c:showLegendKey val="0"/>
              <c:showVal val="1"/>
              <c:showCatName val="0"/>
              <c:showSerName val="0"/>
              <c:showPercent val="0"/>
              <c:showBubbleSize val="0"/>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2.891478</c:v>
                </c:pt>
                <c:pt idx="1">
                  <c:v>13.308007</c:v>
                </c:pt>
                <c:pt idx="2">
                  <c:v>11.72309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54.874478</c:v>
                </c:pt>
                <c:pt idx="1">
                  <c:v>136.246761</c:v>
                </c:pt>
                <c:pt idx="2">
                  <c:v>23.4768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4</a:t>
                    </a:r>
                  </a:p>
                </c:rich>
              </c:tx>
              <c:dLblPos val="t"/>
              <c:showLegendKey val="0"/>
              <c:showVal val="1"/>
              <c:showCatName val="0"/>
              <c:showSerName val="0"/>
              <c:showPercent val="0"/>
              <c:showBubbleSize val="0"/>
            </c:dLbl>
            <c:dLbl>
              <c:idx val="1"/>
              <c:tx>
                <c:rich>
                  <a:bodyPr/>
                  <a:lstStyle/>
                  <a:p>
                    <a:r>
                      <a:t>$  1.06</a:t>
                    </a:r>
                  </a:p>
                </c:rich>
              </c:tx>
              <c:dLblPos val="t"/>
              <c:showLegendKey val="0"/>
              <c:showVal val="1"/>
              <c:showCatName val="0"/>
              <c:showSerName val="0"/>
              <c:showPercent val="0"/>
              <c:showBubbleSize val="0"/>
            </c:dLbl>
            <c:dLbl>
              <c:idx val="2"/>
              <c:tx>
                <c:rich>
                  <a:bodyPr/>
                  <a:lstStyle/>
                  <a:p>
                    <a:r>
                      <a:t>$  1.69</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C$2:$C$4</c:f>
              <c:numCache>
                <c:formatCode>General</c:formatCode>
                <c:ptCount val="3"/>
                <c:pt idx="0">
                  <c:v>3.541070705411556</c:v>
                </c:pt>
                <c:pt idx="1">
                  <c:v>1.058245426517648</c:v>
                </c:pt>
                <c:pt idx="2">
                  <c:v>1.687462807772310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ystem</c:v>
                </c:pt>
                <c:pt idx="1">
                  <c:v>Disposable</c:v>
                </c:pt>
                <c:pt idx="2">
                  <c:v>Dermaplane</c:v>
                </c:pt>
              </c:strCache>
            </c:strRef>
          </c:cat>
          <c:val>
            <c:numRef>
              <c:f>Sheet1!$B$2:$B$4</c:f>
              <c:numCache>
                <c:formatCode>General</c:formatCode>
                <c:ptCount val="3"/>
                <c:pt idx="0">
                  <c:v>1.0213542532361426</c:v>
                </c:pt>
                <c:pt idx="1">
                  <c:v>0.9959837398956418</c:v>
                </c:pt>
                <c:pt idx="2">
                  <c:v>1.06373201925196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26.003408</c:v>
                </c:pt>
                <c:pt idx="1">
                  <c:v>4.2529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78</a:t>
                    </a:r>
                  </a:p>
                </c:rich>
              </c:tx>
              <c:dLblPos val="t"/>
              <c:showLegendKey val="0"/>
              <c:showVal val="1"/>
              <c:showCatName val="0"/>
              <c:showSerName val="0"/>
              <c:showPercent val="0"/>
              <c:showBubbleSize val="0"/>
            </c:dLbl>
            <c:dLbl>
              <c:idx val="1"/>
              <c:tx>
                <c:rich>
                  <a:bodyPr/>
                  <a:lstStyle/>
                  <a:p>
                    <a:r>
                      <a:t>$  1.71</a:t>
                    </a:r>
                  </a:p>
                </c:rich>
              </c:tx>
              <c:dLblPos val="t"/>
              <c:showLegendKey val="0"/>
              <c:showVal val="1"/>
              <c:showCatName val="0"/>
              <c:showSerName val="0"/>
              <c:showPercent val="0"/>
              <c:showBubbleSize val="0"/>
            </c:dLbl>
            <c:dLbl>
              <c:idx val="2"/>
              <c:tx>
                <c:rich>
                  <a:bodyPr/>
                  <a:lstStyle/>
                  <a:p>
                    <a:r>
                      <a:t>$  19.6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C$2:$C$3</c:f>
              <c:numCache>
                <c:formatCode>General</c:formatCode>
                <c:ptCount val="2"/>
                <c:pt idx="0">
                  <c:v>2.7814439535482722</c:v>
                </c:pt>
                <c:pt idx="1">
                  <c:v>1.70954650896840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ystem</c:v>
                </c:pt>
                <c:pt idx="1">
                  <c:v>Disposable</c:v>
                </c:pt>
              </c:strCache>
            </c:strRef>
          </c:cat>
          <c:val>
            <c:numRef>
              <c:f>Sheet1!$B$2:$B$3</c:f>
              <c:numCache>
                <c:formatCode>General</c:formatCode>
                <c:ptCount val="2"/>
                <c:pt idx="0">
                  <c:v>1.15665964710758</c:v>
                </c:pt>
                <c:pt idx="1">
                  <c:v>1.198661093007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169.558645</c:v>
                </c:pt>
                <c:pt idx="1">
                  <c:v>96.913996</c:v>
                </c:pt>
                <c:pt idx="2">
                  <c:v>81.312277</c:v>
                </c:pt>
                <c:pt idx="3">
                  <c:v>28.381485</c:v>
                </c:pt>
                <c:pt idx="4">
                  <c:v>3.1789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5</a:t>
                    </a:r>
                  </a:p>
                </c:rich>
              </c:tx>
              <c:dLblPos val="t"/>
              <c:showLegendKey val="0"/>
              <c:showVal val="1"/>
              <c:showCatName val="0"/>
              <c:showSerName val="0"/>
              <c:showPercent val="0"/>
              <c:showBubbleSize val="0"/>
            </c:dLbl>
            <c:dLbl>
              <c:idx val="1"/>
              <c:tx>
                <c:rich>
                  <a:bodyPr/>
                  <a:lstStyle/>
                  <a:p>
                    <a:r>
                      <a:t>$  3.02</a:t>
                    </a:r>
                  </a:p>
                </c:rich>
              </c:tx>
              <c:dLblPos val="t"/>
              <c:showLegendKey val="0"/>
              <c:showVal val="1"/>
              <c:showCatName val="0"/>
              <c:showSerName val="0"/>
              <c:showPercent val="0"/>
              <c:showBubbleSize val="0"/>
            </c:dLbl>
            <c:dLbl>
              <c:idx val="2"/>
              <c:tx>
                <c:rich>
                  <a:bodyPr/>
                  <a:lstStyle/>
                  <a:p>
                    <a:r>
                      <a:t>$  4.96</a:t>
                    </a:r>
                  </a:p>
                </c:rich>
              </c:tx>
              <c:dLblPos val="t"/>
              <c:showLegendKey val="0"/>
              <c:showVal val="1"/>
              <c:showCatName val="0"/>
              <c:showSerName val="0"/>
              <c:showPercent val="0"/>
              <c:showBubbleSize val="0"/>
            </c:dLbl>
            <c:dLbl>
              <c:idx val="3"/>
              <c:tx>
                <c:rich>
                  <a:bodyPr/>
                  <a:lstStyle/>
                  <a:p>
                    <a:r>
                      <a:t>$  1.65</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482961033565403</c:v>
                </c:pt>
                <c:pt idx="1">
                  <c:v>3.0177204598179888</c:v>
                </c:pt>
                <c:pt idx="2">
                  <c:v>4.962937520191315</c:v>
                </c:pt>
                <c:pt idx="3">
                  <c:v>1.650424578292935</c:v>
                </c:pt>
                <c:pt idx="4">
                  <c:v>1.25397680071382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93817323697839</c:v>
                </c:pt>
                <c:pt idx="1">
                  <c:v>0.9913157731506417</c:v>
                </c:pt>
                <c:pt idx="2">
                  <c:v>1.0578591510456843</c:v>
                </c:pt>
                <c:pt idx="3">
                  <c:v>1.0603490480446738</c:v>
                </c:pt>
                <c:pt idx="4">
                  <c:v>0.691122754969444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24.322477</c:v>
                </c:pt>
                <c:pt idx="1">
                  <c:v>10.208114</c:v>
                </c:pt>
                <c:pt idx="2">
                  <c:v>9.038227</c:v>
                </c:pt>
                <c:pt idx="3">
                  <c:v>3.561758</c:v>
                </c:pt>
                <c:pt idx="4">
                  <c:v>0.3895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3</a:t>
                    </a:r>
                  </a:p>
                </c:rich>
              </c:tx>
              <c:dLblPos val="t"/>
              <c:showLegendKey val="0"/>
              <c:showVal val="1"/>
              <c:showCatName val="0"/>
              <c:showSerName val="0"/>
              <c:showPercent val="0"/>
              <c:showBubbleSize val="0"/>
            </c:dLbl>
            <c:dLbl>
              <c:idx val="1"/>
              <c:tx>
                <c:rich>
                  <a:bodyPr/>
                  <a:lstStyle/>
                  <a:p>
                    <a:r>
                      <a:t>$  3.13</a:t>
                    </a:r>
                  </a:p>
                </c:rich>
              </c:tx>
              <c:dLblPos val="t"/>
              <c:showLegendKey val="0"/>
              <c:showVal val="1"/>
              <c:showCatName val="0"/>
              <c:showSerName val="0"/>
              <c:showPercent val="0"/>
              <c:showBubbleSize val="0"/>
            </c:dLbl>
            <c:dLbl>
              <c:idx val="2"/>
              <c:tx>
                <c:rich>
                  <a:bodyPr/>
                  <a:lstStyle/>
                  <a:p>
                    <a:r>
                      <a:t>$  5.01</a:t>
                    </a:r>
                  </a:p>
                </c:rich>
              </c:tx>
              <c:dLblPos val="t"/>
              <c:showLegendKey val="0"/>
              <c:showVal val="1"/>
              <c:showCatName val="0"/>
              <c:showSerName val="0"/>
              <c:showPercent val="0"/>
              <c:showBubbleSize val="0"/>
            </c:dLbl>
            <c:dLbl>
              <c:idx val="3"/>
              <c:tx>
                <c:rich>
                  <a:bodyPr/>
                  <a:lstStyle/>
                  <a:p>
                    <a:r>
                      <a:t>$  1.51</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259789634989473</c:v>
                </c:pt>
                <c:pt idx="1">
                  <c:v>3.127430333652159</c:v>
                </c:pt>
                <c:pt idx="2">
                  <c:v>5.005797119108173</c:v>
                </c:pt>
                <c:pt idx="3">
                  <c:v>1.5137697808582238</c:v>
                </c:pt>
                <c:pt idx="4">
                  <c:v>1.25056745034207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809276194311005</c:v>
                </c:pt>
                <c:pt idx="1">
                  <c:v>0.940790402570482</c:v>
                </c:pt>
                <c:pt idx="2">
                  <c:v>0.9893358448128108</c:v>
                </c:pt>
                <c:pt idx="3">
                  <c:v>1.0220302365893894</c:v>
                </c:pt>
                <c:pt idx="4">
                  <c:v>0.65566949226719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3.838857</c:v>
                </c:pt>
                <c:pt idx="1">
                  <c:v>12.036476</c:v>
                </c:pt>
                <c:pt idx="2">
                  <c:v>4.252991</c:v>
                </c:pt>
                <c:pt idx="3">
                  <c:v>0.1280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81</a:t>
                    </a:r>
                  </a:p>
                </c:rich>
              </c:tx>
              <c:dLblPos val="t"/>
              <c:showLegendKey val="0"/>
              <c:showVal val="1"/>
              <c:showCatName val="0"/>
              <c:showSerName val="0"/>
              <c:showPercent val="0"/>
              <c:showBubbleSize val="0"/>
            </c:dLbl>
            <c:dLbl>
              <c:idx val="1"/>
              <c:tx>
                <c:rich>
                  <a:bodyPr/>
                  <a:lstStyle/>
                  <a:p>
                    <a:r>
                      <a:t>$  2.77</a:t>
                    </a:r>
                  </a:p>
                </c:rich>
              </c:tx>
              <c:dLblPos val="t"/>
              <c:showLegendKey val="0"/>
              <c:showVal val="1"/>
              <c:showCatName val="0"/>
              <c:showSerName val="0"/>
              <c:showPercent val="0"/>
              <c:showBubbleSize val="0"/>
            </c:dLbl>
            <c:dLbl>
              <c:idx val="2"/>
              <c:tx>
                <c:rich>
                  <a:bodyPr/>
                  <a:lstStyle/>
                  <a:p>
                    <a:r>
                      <a:t>$  1.71</a:t>
                    </a:r>
                  </a:p>
                </c:rich>
              </c:tx>
              <c:dLblPos val="t"/>
              <c:showLegendKey val="0"/>
              <c:showVal val="1"/>
              <c:showCatName val="0"/>
              <c:showSerName val="0"/>
              <c:showPercent val="0"/>
              <c:showBubbleSize val="0"/>
            </c:dLbl>
            <c:dLbl>
              <c:idx val="3"/>
              <c:tx>
                <c:rich>
                  <a:bodyPr/>
                  <a:lstStyle/>
                  <a:p>
                    <a:r>
                      <a:t>$  1.76</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C$2:$C$5</c:f>
              <c:numCache>
                <c:formatCode>General</c:formatCode>
                <c:ptCount val="4"/>
                <c:pt idx="0">
                  <c:v>2.8065796609193283</c:v>
                </c:pt>
                <c:pt idx="1">
                  <c:v>2.7699172555614773</c:v>
                </c:pt>
                <c:pt idx="2">
                  <c:v>1.7095465089684052</c:v>
                </c:pt>
                <c:pt idx="3">
                  <c:v>1.764167056943717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0130332662509374</c:v>
                </c:pt>
                <c:pt idx="1">
                  <c:v>1.4294093742080427</c:v>
                </c:pt>
                <c:pt idx="2">
                  <c:v>1.198661093007617</c:v>
                </c:pt>
                <c:pt idx="3">
                  <c:v>0.32013707841015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azors</c:v>
                </c:pt>
                <c:pt idx="2">
                  <c:v>Refills</c:v>
                </c:pt>
                <c:pt idx="3">
                  <c:v>Dermaplane</c:v>
                </c:pt>
                <c:pt idx="4">
                  <c:v>Hybrid</c:v>
                </c:pt>
              </c:strCache>
            </c:strRef>
          </c:cat>
          <c:val>
            <c:numRef>
              <c:f>Sheet1!$B$2:$B$6</c:f>
              <c:numCache>
                <c:formatCode>General</c:formatCode>
                <c:ptCount val="5"/>
                <c:pt idx="0">
                  <c:v>451.490479</c:v>
                </c:pt>
                <c:pt idx="1">
                  <c:v>344.37683</c:v>
                </c:pt>
                <c:pt idx="2">
                  <c:v>335.138552</c:v>
                </c:pt>
                <c:pt idx="3">
                  <c:v>78.716913</c:v>
                </c:pt>
                <c:pt idx="4">
                  <c:v>6.0572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0</a:t>
                    </a:r>
                  </a:p>
                </c:rich>
              </c:tx>
              <c:dLblPos val="t"/>
              <c:showLegendKey val="0"/>
              <c:showVal val="1"/>
              <c:showCatName val="0"/>
              <c:showSerName val="0"/>
              <c:showPercent val="0"/>
              <c:showBubbleSize val="0"/>
            </c:dLbl>
            <c:dLbl>
              <c:idx val="1"/>
              <c:tx>
                <c:rich>
                  <a:bodyPr/>
                  <a:lstStyle/>
                  <a:p>
                    <a:r>
                      <a:t>$  4.41</a:t>
                    </a:r>
                  </a:p>
                </c:rich>
              </c:tx>
              <c:dLblPos val="t"/>
              <c:showLegendKey val="0"/>
              <c:showVal val="1"/>
              <c:showCatName val="0"/>
              <c:showSerName val="0"/>
              <c:showPercent val="0"/>
              <c:showBubbleSize val="0"/>
            </c:dLbl>
            <c:dLbl>
              <c:idx val="2"/>
              <c:tx>
                <c:rich>
                  <a:bodyPr/>
                  <a:lstStyle/>
                  <a:p>
                    <a:r>
                      <a:t>$  3.17</a:t>
                    </a:r>
                  </a:p>
                </c:rich>
              </c:tx>
              <c:dLblPos val="t"/>
              <c:showLegendKey val="0"/>
              <c:showVal val="1"/>
              <c:showCatName val="0"/>
              <c:showSerName val="0"/>
              <c:showPercent val="0"/>
              <c:showBubbleSize val="0"/>
            </c:dLbl>
            <c:dLbl>
              <c:idx val="3"/>
              <c:tx>
                <c:rich>
                  <a:bodyPr/>
                  <a:lstStyle/>
                  <a:p>
                    <a:r>
                      <a:t>$  2.02</a:t>
                    </a:r>
                  </a:p>
                </c:rich>
              </c:tx>
              <c:dLblPos val="t"/>
              <c:showLegendKey val="0"/>
              <c:showVal val="1"/>
              <c:showCatName val="0"/>
              <c:showSerName val="0"/>
              <c:showPercent val="0"/>
              <c:showBubbleSize val="0"/>
            </c:dLbl>
            <c:dLbl>
              <c:idx val="4"/>
              <c:tx>
                <c:rich>
                  <a:bodyPr/>
                  <a:lstStyle/>
                  <a:p>
                    <a:r>
                      <a:t>$  1.38</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azors</c:v>
                </c:pt>
                <c:pt idx="2">
                  <c:v>Refills</c:v>
                </c:pt>
                <c:pt idx="3">
                  <c:v>Dermaplane</c:v>
                </c:pt>
                <c:pt idx="4">
                  <c:v>Hybrid</c:v>
                </c:pt>
              </c:strCache>
            </c:strRef>
          </c:cat>
          <c:val>
            <c:numRef>
              <c:f>Sheet1!$C$2:$C$6</c:f>
              <c:numCache>
                <c:formatCode>General</c:formatCode>
                <c:ptCount val="5"/>
                <c:pt idx="0">
                  <c:v>1.1984232202970873</c:v>
                </c:pt>
                <c:pt idx="1">
                  <c:v>4.4126129368244165</c:v>
                </c:pt>
                <c:pt idx="2">
                  <c:v>3.173439441344981</c:v>
                </c:pt>
                <c:pt idx="3">
                  <c:v>2.024235227209257</c:v>
                </c:pt>
                <c:pt idx="4">
                  <c:v>1.38052139912518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azors</c:v>
                </c:pt>
                <c:pt idx="2">
                  <c:v>Refills</c:v>
                </c:pt>
                <c:pt idx="3">
                  <c:v>Dermaplane</c:v>
                </c:pt>
                <c:pt idx="4">
                  <c:v>Hybrid</c:v>
                </c:pt>
              </c:strCache>
            </c:strRef>
          </c:cat>
          <c:val>
            <c:numRef>
              <c:f>Sheet1!$B$2:$B$6</c:f>
              <c:numCache>
                <c:formatCode>General</c:formatCode>
                <c:ptCount val="5"/>
                <c:pt idx="0">
                  <c:v>0.9870947355017868</c:v>
                </c:pt>
                <c:pt idx="1">
                  <c:v>1.033197045454077</c:v>
                </c:pt>
                <c:pt idx="2">
                  <c:v>1.0380005259526852</c:v>
                </c:pt>
                <c:pt idx="3">
                  <c:v>1.0933822416981782</c:v>
                </c:pt>
                <c:pt idx="4">
                  <c:v>0.64931219946312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51.375388</c:v>
                </c:pt>
                <c:pt idx="1">
                  <c:v>45.694308</c:v>
                </c:pt>
                <c:pt idx="2">
                  <c:v>22.696133</c:v>
                </c:pt>
                <c:pt idx="3">
                  <c:v>0.3856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75</a:t>
                    </a:r>
                  </a:p>
                </c:rich>
              </c:tx>
              <c:dLblPos val="t"/>
              <c:showLegendKey val="0"/>
              <c:showVal val="1"/>
              <c:showCatName val="0"/>
              <c:showSerName val="0"/>
              <c:showPercent val="0"/>
              <c:showBubbleSize val="0"/>
            </c:dLbl>
            <c:dLbl>
              <c:idx val="1"/>
              <c:tx>
                <c:rich>
                  <a:bodyPr/>
                  <a:lstStyle/>
                  <a:p>
                    <a:r>
                      <a:t>$  3.04</a:t>
                    </a:r>
                  </a:p>
                </c:rich>
              </c:tx>
              <c:dLblPos val="t"/>
              <c:showLegendKey val="0"/>
              <c:showVal val="1"/>
              <c:showCatName val="0"/>
              <c:showSerName val="0"/>
              <c:showPercent val="0"/>
              <c:showBubbleSize val="0"/>
            </c:dLbl>
            <c:dLbl>
              <c:idx val="2"/>
              <c:tx>
                <c:rich>
                  <a:bodyPr/>
                  <a:lstStyle/>
                  <a:p>
                    <a:r>
                      <a:t>$  1.18</a:t>
                    </a:r>
                  </a:p>
                </c:rich>
              </c:tx>
              <c:dLblPos val="t"/>
              <c:showLegendKey val="0"/>
              <c:showVal val="1"/>
              <c:showCatName val="0"/>
              <c:showSerName val="0"/>
              <c:showPercent val="0"/>
              <c:showBubbleSize val="0"/>
            </c:dLbl>
            <c:dLbl>
              <c:idx val="3"/>
              <c:tx>
                <c:rich>
                  <a:bodyPr/>
                  <a:lstStyle/>
                  <a:p>
                    <a:r>
                      <a:t>$  1.9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C$2:$C$5</c:f>
              <c:numCache>
                <c:formatCode>General</c:formatCode>
                <c:ptCount val="4"/>
                <c:pt idx="0">
                  <c:v>2.7543558300627558</c:v>
                </c:pt>
                <c:pt idx="1">
                  <c:v>3.0445818282319466</c:v>
                </c:pt>
                <c:pt idx="2">
                  <c:v>1.1771383703627174</c:v>
                </c:pt>
                <c:pt idx="3">
                  <c:v>1.94674541278614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1.2313476625087416</c:v>
                </c:pt>
                <c:pt idx="1">
                  <c:v>1.0599433177477513</c:v>
                </c:pt>
                <c:pt idx="2">
                  <c:v>1.194073346167337</c:v>
                </c:pt>
                <c:pt idx="3">
                  <c:v>0.66671161429403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5</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899285</c:v>
                </c:pt>
                <c:pt idx="1">
                  <c:v>15.522659</c:v>
                </c:pt>
                <c:pt idx="2">
                  <c:v>11.66658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7</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4.315919</c:v>
                </c:pt>
                <c:pt idx="1">
                  <c:v>14.674457</c:v>
                </c:pt>
                <c:pt idx="2">
                  <c:v>9.05010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7</a:t>
                    </a:r>
                  </a:p>
                </c:rich>
              </c:tx>
              <c:showLegendKey val="0"/>
              <c:showVal val="1"/>
              <c:showCatName val="0"/>
              <c:showSerName val="0"/>
              <c:showPercent val="0"/>
              <c:showBubbleSize val="0"/>
            </c:dLbl>
            <c:dLbl>
              <c:idx val="2"/>
              <c:tx>
                <c:rich>
                  <a:bodyPr/>
                  <a:lstStyle/>
                  <a:p>
                    <a:r>
                      <a:rPr>
                        <a:solidFill>
                          <a:srgbClr val="FFFFFF"/>
                        </a:solidFill>
                      </a:rPr>
                      <a:t>1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4.141938</c:v>
                </c:pt>
                <c:pt idx="1">
                  <c:v>14.657086</c:v>
                </c:pt>
                <c:pt idx="2">
                  <c:v>11.36626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4</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09615</c:v>
                </c:pt>
                <c:pt idx="1">
                  <c:v>7.42813</c:v>
                </c:pt>
                <c:pt idx="2">
                  <c:v>3.05679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6346</c:v>
                </c:pt>
                <c:pt idx="1">
                  <c:v>0.896811</c:v>
                </c:pt>
                <c:pt idx="2">
                  <c:v>1.2687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71.3</a:t>
                    </a:r>
                  </a:p>
                </c:rich>
              </c:tx>
              <c:showLegendKey val="0"/>
              <c:showVal val="1"/>
              <c:showCatName val="0"/>
              <c:showSerName val="0"/>
              <c:showPercent val="0"/>
              <c:showBubbleSize val="0"/>
            </c:dLbl>
            <c:dLbl>
              <c:idx val="1"/>
              <c:tx>
                <c:rich>
                  <a:bodyPr/>
                  <a:lstStyle/>
                  <a:p>
                    <a:r>
                      <a:rPr>
                        <a:solidFill>
                          <a:srgbClr val="FFFFFF"/>
                        </a:solidFill>
                      </a:rPr>
                      <a:t>61.4</a:t>
                    </a:r>
                  </a:p>
                </c:rich>
              </c:tx>
              <c:showLegendKey val="0"/>
              <c:showVal val="1"/>
              <c:showCatName val="0"/>
              <c:showSerName val="0"/>
              <c:showPercent val="0"/>
              <c:showBubbleSize val="0"/>
            </c:dLbl>
            <c:dLbl>
              <c:idx val="2"/>
              <c:tx>
                <c:rich>
                  <a:bodyPr/>
                  <a:lstStyle/>
                  <a:p>
                    <a:r>
                      <a:rPr>
                        <a:solidFill>
                          <a:srgbClr val="FFFFFF"/>
                        </a:solidFill>
                      </a:rPr>
                      <a:t>4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1.274165</c:v>
                </c:pt>
                <c:pt idx="1">
                  <c:v>61.431168</c:v>
                </c:pt>
                <c:pt idx="2">
                  <c:v>47.6942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55.3</a:t>
                    </a:r>
                  </a:p>
                </c:rich>
              </c:tx>
              <c:showLegendKey val="0"/>
              <c:showVal val="1"/>
              <c:showCatName val="0"/>
              <c:showSerName val="0"/>
              <c:showPercent val="0"/>
              <c:showBubbleSize val="0"/>
            </c:dLbl>
            <c:dLbl>
              <c:idx val="1"/>
              <c:tx>
                <c:rich>
                  <a:bodyPr/>
                  <a:lstStyle/>
                  <a:p>
                    <a:r>
                      <a:rPr>
                        <a:solidFill>
                          <a:srgbClr val="FFFFFF"/>
                        </a:solidFill>
                      </a:rPr>
                      <a:t>53.0</a:t>
                    </a:r>
                  </a:p>
                </c:rich>
              </c:tx>
              <c:showLegendKey val="0"/>
              <c:showVal val="1"/>
              <c:showCatName val="0"/>
              <c:showSerName val="0"/>
              <c:showPercent val="0"/>
              <c:showBubbleSize val="0"/>
            </c:dLbl>
            <c:dLbl>
              <c:idx val="2"/>
              <c:tx>
                <c:rich>
                  <a:bodyPr/>
                  <a:lstStyle/>
                  <a:p>
                    <a:r>
                      <a:rPr>
                        <a:solidFill>
                          <a:srgbClr val="FFFFFF"/>
                        </a:solidFill>
                      </a:rPr>
                      <a:t>3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5.287426</c:v>
                </c:pt>
                <c:pt idx="1">
                  <c:v>53.027345</c:v>
                </c:pt>
                <c:pt idx="2">
                  <c:v>31.51390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22.9</a:t>
                    </a:r>
                  </a:p>
                </c:rich>
              </c:tx>
              <c:showLegendKey val="0"/>
              <c:showVal val="1"/>
              <c:showCatName val="0"/>
              <c:showSerName val="0"/>
              <c:showPercent val="0"/>
              <c:showBubbleSize val="0"/>
            </c:dLbl>
            <c:dLbl>
              <c:idx val="1"/>
              <c:tx>
                <c:rich>
                  <a:bodyPr/>
                  <a:lstStyle/>
                  <a:p>
                    <a:r>
                      <a:rPr>
                        <a:solidFill>
                          <a:srgbClr val="FFFFFF"/>
                        </a:solidFill>
                      </a:rPr>
                      <a:t>24.4</a:t>
                    </a:r>
                  </a:p>
                </c:rich>
              </c:tx>
              <c:showLegendKey val="0"/>
              <c:showVal val="1"/>
              <c:showCatName val="0"/>
              <c:showSerName val="0"/>
              <c:showPercent val="0"/>
              <c:showBubbleSize val="0"/>
            </c:dLbl>
            <c:dLbl>
              <c:idx val="2"/>
              <c:tx>
                <c:rich>
                  <a:bodyPr/>
                  <a:lstStyle/>
                  <a:p>
                    <a:r>
                      <a:rPr>
                        <a:solidFill>
                          <a:srgbClr val="FFFFFF"/>
                        </a:solidFill>
                      </a:rPr>
                      <a:t>1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2.927242</c:v>
                </c:pt>
                <c:pt idx="1">
                  <c:v>24.361149</c:v>
                </c:pt>
                <c:pt idx="2">
                  <c:v>19.27794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tx>
                <c:rich>
                  <a:bodyPr/>
                  <a:lstStyle/>
                  <a:p>
                    <a:r>
                      <a:rPr>
                        <a:solidFill>
                          <a:srgbClr val="FFFFFF"/>
                        </a:solidFill>
                      </a:rPr>
                      <a:t>17.3</a:t>
                    </a:r>
                  </a:p>
                </c:rich>
              </c:tx>
              <c:showLegendKey val="0"/>
              <c:showVal val="1"/>
              <c:showCatName val="0"/>
              <c:showSerName val="0"/>
              <c:showPercent val="0"/>
              <c:showBubbleSize val="0"/>
            </c:dLbl>
            <c:dLbl>
              <c:idx val="1"/>
              <c:tx>
                <c:rich>
                  <a:bodyPr/>
                  <a:lstStyle/>
                  <a:p>
                    <a:r>
                      <a:rPr>
                        <a:solidFill>
                          <a:srgbClr val="FFFFFF"/>
                        </a:solidFill>
                      </a:rPr>
                      <a:t>18.9</a:t>
                    </a:r>
                  </a:p>
                </c:rich>
              </c:tx>
              <c:showLegendKey val="0"/>
              <c:showVal val="1"/>
              <c:showCatName val="0"/>
              <c:showSerName val="0"/>
              <c:showPercent val="0"/>
              <c:showBubbleSize val="0"/>
            </c:dLbl>
            <c:dLbl>
              <c:idx val="2"/>
              <c:tx>
                <c:rich>
                  <a:bodyPr/>
                  <a:lstStyle/>
                  <a:p>
                    <a:r>
                      <a:rPr>
                        <a:solidFill>
                          <a:srgbClr val="FFFFFF"/>
                        </a:solidFill>
                      </a:rPr>
                      <a:t>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7.3182</c:v>
                </c:pt>
                <c:pt idx="1">
                  <c:v>18.924974</c:v>
                </c:pt>
                <c:pt idx="2">
                  <c:v>9.8815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7725</c:v>
                </c:pt>
                <c:pt idx="1">
                  <c:v>2.902923</c:v>
                </c:pt>
                <c:pt idx="2">
                  <c:v>3.88023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169.558645</c:v>
                </c:pt>
                <c:pt idx="1">
                  <c:v>96.913996</c:v>
                </c:pt>
                <c:pt idx="2">
                  <c:v>81.312277</c:v>
                </c:pt>
                <c:pt idx="3">
                  <c:v>28.381485</c:v>
                </c:pt>
                <c:pt idx="4">
                  <c:v>3.1789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5</a:t>
                    </a:r>
                  </a:p>
                </c:rich>
              </c:tx>
              <c:dLblPos val="t"/>
              <c:showLegendKey val="0"/>
              <c:showVal val="1"/>
              <c:showCatName val="0"/>
              <c:showSerName val="0"/>
              <c:showPercent val="0"/>
              <c:showBubbleSize val="0"/>
            </c:dLbl>
            <c:dLbl>
              <c:idx val="1"/>
              <c:tx>
                <c:rich>
                  <a:bodyPr/>
                  <a:lstStyle/>
                  <a:p>
                    <a:r>
                      <a:t>$  3.02</a:t>
                    </a:r>
                  </a:p>
                </c:rich>
              </c:tx>
              <c:dLblPos val="t"/>
              <c:showLegendKey val="0"/>
              <c:showVal val="1"/>
              <c:showCatName val="0"/>
              <c:showSerName val="0"/>
              <c:showPercent val="0"/>
              <c:showBubbleSize val="0"/>
            </c:dLbl>
            <c:dLbl>
              <c:idx val="2"/>
              <c:tx>
                <c:rich>
                  <a:bodyPr/>
                  <a:lstStyle/>
                  <a:p>
                    <a:r>
                      <a:t>$  4.96</a:t>
                    </a:r>
                  </a:p>
                </c:rich>
              </c:tx>
              <c:dLblPos val="t"/>
              <c:showLegendKey val="0"/>
              <c:showVal val="1"/>
              <c:showCatName val="0"/>
              <c:showSerName val="0"/>
              <c:showPercent val="0"/>
              <c:showBubbleSize val="0"/>
            </c:dLbl>
            <c:dLbl>
              <c:idx val="3"/>
              <c:tx>
                <c:rich>
                  <a:bodyPr/>
                  <a:lstStyle/>
                  <a:p>
                    <a:r>
                      <a:t>$  1.65</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482961033565403</c:v>
                </c:pt>
                <c:pt idx="1">
                  <c:v>3.0177204598179888</c:v>
                </c:pt>
                <c:pt idx="2">
                  <c:v>4.962937520191315</c:v>
                </c:pt>
                <c:pt idx="3">
                  <c:v>1.650424578292935</c:v>
                </c:pt>
                <c:pt idx="4">
                  <c:v>1.25397680071382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93817323697839</c:v>
                </c:pt>
                <c:pt idx="1">
                  <c:v>0.9913157731506417</c:v>
                </c:pt>
                <c:pt idx="2">
                  <c:v>1.0578591510456843</c:v>
                </c:pt>
                <c:pt idx="3">
                  <c:v>1.0603490480446738</c:v>
                </c:pt>
                <c:pt idx="4">
                  <c:v>0.691122754969444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169.558645</c:v>
                </c:pt>
                <c:pt idx="1">
                  <c:v>96.913996</c:v>
                </c:pt>
                <c:pt idx="2">
                  <c:v>81.312277</c:v>
                </c:pt>
                <c:pt idx="3">
                  <c:v>28.381485</c:v>
                </c:pt>
                <c:pt idx="4">
                  <c:v>3.1789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5</a:t>
                    </a:r>
                  </a:p>
                </c:rich>
              </c:tx>
              <c:dLblPos val="t"/>
              <c:showLegendKey val="0"/>
              <c:showVal val="1"/>
              <c:showCatName val="0"/>
              <c:showSerName val="0"/>
              <c:showPercent val="0"/>
              <c:showBubbleSize val="0"/>
            </c:dLbl>
            <c:dLbl>
              <c:idx val="1"/>
              <c:tx>
                <c:rich>
                  <a:bodyPr/>
                  <a:lstStyle/>
                  <a:p>
                    <a:r>
                      <a:t>$  3.02</a:t>
                    </a:r>
                  </a:p>
                </c:rich>
              </c:tx>
              <c:dLblPos val="t"/>
              <c:showLegendKey val="0"/>
              <c:showVal val="1"/>
              <c:showCatName val="0"/>
              <c:showSerName val="0"/>
              <c:showPercent val="0"/>
              <c:showBubbleSize val="0"/>
            </c:dLbl>
            <c:dLbl>
              <c:idx val="2"/>
              <c:tx>
                <c:rich>
                  <a:bodyPr/>
                  <a:lstStyle/>
                  <a:p>
                    <a:r>
                      <a:t>$  4.96</a:t>
                    </a:r>
                  </a:p>
                </c:rich>
              </c:tx>
              <c:dLblPos val="t"/>
              <c:showLegendKey val="0"/>
              <c:showVal val="1"/>
              <c:showCatName val="0"/>
              <c:showSerName val="0"/>
              <c:showPercent val="0"/>
              <c:showBubbleSize val="0"/>
            </c:dLbl>
            <c:dLbl>
              <c:idx val="3"/>
              <c:tx>
                <c:rich>
                  <a:bodyPr/>
                  <a:lstStyle/>
                  <a:p>
                    <a:r>
                      <a:t>$  1.65</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482961033565403</c:v>
                </c:pt>
                <c:pt idx="1">
                  <c:v>3.0177204598179888</c:v>
                </c:pt>
                <c:pt idx="2">
                  <c:v>4.962937520191315</c:v>
                </c:pt>
                <c:pt idx="3">
                  <c:v>1.650424578292935</c:v>
                </c:pt>
                <c:pt idx="4">
                  <c:v>1.25397680071382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93817323697839</c:v>
                </c:pt>
                <c:pt idx="1">
                  <c:v>0.9913157731506417</c:v>
                </c:pt>
                <c:pt idx="2">
                  <c:v>1.0578591510456843</c:v>
                </c:pt>
                <c:pt idx="3">
                  <c:v>1.0603490480446738</c:v>
                </c:pt>
                <c:pt idx="4">
                  <c:v>0.691122754969444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39.338912</c:v>
                </c:pt>
                <c:pt idx="1">
                  <c:v>31.855451</c:v>
                </c:pt>
                <c:pt idx="2">
                  <c:v>18.443142</c:v>
                </c:pt>
                <c:pt idx="3">
                  <c:v>0.2575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75</a:t>
                    </a:r>
                  </a:p>
                </c:rich>
              </c:tx>
              <c:dLblPos val="t"/>
              <c:showLegendKey val="0"/>
              <c:showVal val="1"/>
              <c:showCatName val="0"/>
              <c:showSerName val="0"/>
              <c:showPercent val="0"/>
              <c:showBubbleSize val="0"/>
            </c:dLbl>
            <c:dLbl>
              <c:idx val="1"/>
              <c:tx>
                <c:rich>
                  <a:bodyPr/>
                  <a:lstStyle/>
                  <a:p>
                    <a:r>
                      <a:t>$  3.16</a:t>
                    </a:r>
                  </a:p>
                </c:rich>
              </c:tx>
              <c:dLblPos val="t"/>
              <c:showLegendKey val="0"/>
              <c:showVal val="1"/>
              <c:showCatName val="0"/>
              <c:showSerName val="0"/>
              <c:showPercent val="0"/>
              <c:showBubbleSize val="0"/>
            </c:dLbl>
            <c:dLbl>
              <c:idx val="2"/>
              <c:tx>
                <c:rich>
                  <a:bodyPr/>
                  <a:lstStyle/>
                  <a:p>
                    <a:r>
                      <a:t>$  1.10</a:t>
                    </a:r>
                  </a:p>
                </c:rich>
              </c:tx>
              <c:dLblPos val="t"/>
              <c:showLegendKey val="0"/>
              <c:showVal val="1"/>
              <c:showCatName val="0"/>
              <c:showSerName val="0"/>
              <c:showPercent val="0"/>
              <c:showBubbleSize val="0"/>
            </c:dLbl>
            <c:dLbl>
              <c:idx val="3"/>
              <c:tx>
                <c:rich>
                  <a:bodyPr/>
                  <a:lstStyle/>
                  <a:p>
                    <a:r>
                      <a:t>$  2.0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C$2:$C$5</c:f>
              <c:numCache>
                <c:formatCode>General</c:formatCode>
                <c:ptCount val="4"/>
                <c:pt idx="0">
                  <c:v>2.7496293943651446</c:v>
                </c:pt>
                <c:pt idx="1">
                  <c:v>3.161034438960302</c:v>
                </c:pt>
                <c:pt idx="2">
                  <c:v>1.0982649892990999</c:v>
                </c:pt>
                <c:pt idx="3">
                  <c:v>2.052355645501844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fills</c:v>
                </c:pt>
                <c:pt idx="1">
                  <c:v>Razors</c:v>
                </c:pt>
                <c:pt idx="2">
                  <c:v>Disposable</c:v>
                </c:pt>
                <c:pt idx="3">
                  <c:v>Hybrid</c:v>
                </c:pt>
              </c:strCache>
            </c:strRef>
          </c:cat>
          <c:val>
            <c:numRef>
              <c:f>Sheet1!$B$2:$B$5</c:f>
              <c:numCache>
                <c:formatCode>General</c:formatCode>
                <c:ptCount val="4"/>
                <c:pt idx="0">
                  <c:v>1.18126711968843</c:v>
                </c:pt>
                <c:pt idx="1">
                  <c:v>1.0817037235922269</c:v>
                </c:pt>
                <c:pt idx="2">
                  <c:v>1.1930203896048703</c:v>
                </c:pt>
                <c:pt idx="3">
                  <c:v>1.44395923492611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26.280011</c:v>
                </c:pt>
                <c:pt idx="1">
                  <c:v>25.303753</c:v>
                </c:pt>
                <c:pt idx="2">
                  <c:v>24.3428</c:v>
                </c:pt>
                <c:pt idx="3">
                  <c:v>5.480306</c:v>
                </c:pt>
                <c:pt idx="4">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6.44</a:t>
                    </a:r>
                  </a:p>
                </c:rich>
              </c:tx>
              <c:dLblPos val="t"/>
              <c:showLegendKey val="0"/>
              <c:showVal val="1"/>
              <c:showCatName val="0"/>
              <c:showSerName val="0"/>
              <c:showPercent val="0"/>
              <c:showBubbleSize val="0"/>
            </c:dLbl>
            <c:dLbl>
              <c:idx val="1"/>
              <c:tx>
                <c:rich>
                  <a:bodyPr/>
                  <a:lstStyle/>
                  <a:p>
                    <a:r>
                      <a:t>$  4.28</a:t>
                    </a:r>
                  </a:p>
                </c:rich>
              </c:tx>
              <c:dLblPos val="t"/>
              <c:showLegendKey val="0"/>
              <c:showVal val="1"/>
              <c:showCatName val="0"/>
              <c:showSerName val="0"/>
              <c:showPercent val="0"/>
              <c:showBubbleSize val="0"/>
            </c:dLbl>
            <c:dLbl>
              <c:idx val="2"/>
              <c:tx>
                <c:rich>
                  <a:bodyPr/>
                  <a:lstStyle/>
                  <a:p>
                    <a:r>
                      <a:t>$  2.43</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C$2:$C$6</c:f>
              <c:numCache>
                <c:formatCode>General</c:formatCode>
                <c:ptCount val="5"/>
                <c:pt idx="0">
                  <c:v>6.437630580594178</c:v>
                </c:pt>
                <c:pt idx="1">
                  <c:v>4.281833672896121</c:v>
                </c:pt>
                <c:pt idx="2">
                  <c:v>2.4328088804699797</c:v>
                </c:pt>
                <c:pt idx="3">
                  <c:v>2.5273291404148095</c:v>
                </c:pt>
                <c:pt idx="4">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azors</c:v>
                </c:pt>
                <c:pt idx="1">
                  <c:v>Refills</c:v>
                </c:pt>
                <c:pt idx="2">
                  <c:v>Disposable</c:v>
                </c:pt>
                <c:pt idx="3">
                  <c:v>Dermaplane</c:v>
                </c:pt>
                <c:pt idx="4">
                  <c:v>Hybrid</c:v>
                </c:pt>
              </c:strCache>
            </c:strRef>
          </c:cat>
          <c:val>
            <c:numRef>
              <c:f>Sheet1!$B$2:$B$6</c:f>
              <c:numCache>
                <c:formatCode>General</c:formatCode>
                <c:ptCount val="5"/>
                <c:pt idx="0">
                  <c:v>0.8927880556694566</c:v>
                </c:pt>
                <c:pt idx="1">
                  <c:v>0.9920111430628973</c:v>
                </c:pt>
                <c:pt idx="2">
                  <c:v>1.0464092303139718</c:v>
                </c:pt>
                <c:pt idx="3">
                  <c:v>0.9634127518489284</c:v>
                </c:pt>
                <c:pt idx="4">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24.322477</c:v>
                </c:pt>
                <c:pt idx="1">
                  <c:v>10.208114</c:v>
                </c:pt>
                <c:pt idx="2">
                  <c:v>9.038227</c:v>
                </c:pt>
                <c:pt idx="3">
                  <c:v>3.561758</c:v>
                </c:pt>
                <c:pt idx="4">
                  <c:v>0.3895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3</a:t>
                    </a:r>
                  </a:p>
                </c:rich>
              </c:tx>
              <c:dLblPos val="t"/>
              <c:showLegendKey val="0"/>
              <c:showVal val="1"/>
              <c:showCatName val="0"/>
              <c:showSerName val="0"/>
              <c:showPercent val="0"/>
              <c:showBubbleSize val="0"/>
            </c:dLbl>
            <c:dLbl>
              <c:idx val="1"/>
              <c:tx>
                <c:rich>
                  <a:bodyPr/>
                  <a:lstStyle/>
                  <a:p>
                    <a:r>
                      <a:t>$  3.13</a:t>
                    </a:r>
                  </a:p>
                </c:rich>
              </c:tx>
              <c:dLblPos val="t"/>
              <c:showLegendKey val="0"/>
              <c:showVal val="1"/>
              <c:showCatName val="0"/>
              <c:showSerName val="0"/>
              <c:showPercent val="0"/>
              <c:showBubbleSize val="0"/>
            </c:dLbl>
            <c:dLbl>
              <c:idx val="2"/>
              <c:tx>
                <c:rich>
                  <a:bodyPr/>
                  <a:lstStyle/>
                  <a:p>
                    <a:r>
                      <a:t>$  5.01</a:t>
                    </a:r>
                  </a:p>
                </c:rich>
              </c:tx>
              <c:dLblPos val="t"/>
              <c:showLegendKey val="0"/>
              <c:showVal val="1"/>
              <c:showCatName val="0"/>
              <c:showSerName val="0"/>
              <c:showPercent val="0"/>
              <c:showBubbleSize val="0"/>
            </c:dLbl>
            <c:dLbl>
              <c:idx val="3"/>
              <c:tx>
                <c:rich>
                  <a:bodyPr/>
                  <a:lstStyle/>
                  <a:p>
                    <a:r>
                      <a:t>$  1.51</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259789634989473</c:v>
                </c:pt>
                <c:pt idx="1">
                  <c:v>3.127430333652159</c:v>
                </c:pt>
                <c:pt idx="2">
                  <c:v>5.005797119108173</c:v>
                </c:pt>
                <c:pt idx="3">
                  <c:v>1.5137697808582238</c:v>
                </c:pt>
                <c:pt idx="4">
                  <c:v>1.250567450342075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809276194311005</c:v>
                </c:pt>
                <c:pt idx="1">
                  <c:v>0.940790402570482</c:v>
                </c:pt>
                <c:pt idx="2">
                  <c:v>0.9893358448128108</c:v>
                </c:pt>
                <c:pt idx="3">
                  <c:v>1.0220302365893894</c:v>
                </c:pt>
                <c:pt idx="4">
                  <c:v>0.65566949226719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8.989407</c:v>
                </c:pt>
                <c:pt idx="1">
                  <c:v>3.724185</c:v>
                </c:pt>
                <c:pt idx="2">
                  <c:v>3.11619</c:v>
                </c:pt>
                <c:pt idx="3">
                  <c:v>1.342872</c:v>
                </c:pt>
                <c:pt idx="4">
                  <c:v>0.054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97</a:t>
                    </a:r>
                  </a:p>
                </c:rich>
              </c:tx>
              <c:dLblPos val="t"/>
              <c:showLegendKey val="0"/>
              <c:showVal val="1"/>
              <c:showCatName val="0"/>
              <c:showSerName val="0"/>
              <c:showPercent val="0"/>
              <c:showBubbleSize val="0"/>
            </c:dLbl>
            <c:dLbl>
              <c:idx val="1"/>
              <c:tx>
                <c:rich>
                  <a:bodyPr/>
                  <a:lstStyle/>
                  <a:p>
                    <a:r>
                      <a:t>$  3.02</a:t>
                    </a:r>
                  </a:p>
                </c:rich>
              </c:tx>
              <c:dLblPos val="t"/>
              <c:showLegendKey val="0"/>
              <c:showVal val="1"/>
              <c:showCatName val="0"/>
              <c:showSerName val="0"/>
              <c:showPercent val="0"/>
              <c:showBubbleSize val="0"/>
            </c:dLbl>
            <c:dLbl>
              <c:idx val="2"/>
              <c:tx>
                <c:rich>
                  <a:bodyPr/>
                  <a:lstStyle/>
                  <a:p>
                    <a:r>
                      <a:t>$  4.85</a:t>
                    </a:r>
                  </a:p>
                </c:rich>
              </c:tx>
              <c:dLblPos val="t"/>
              <c:showLegendKey val="0"/>
              <c:showVal val="1"/>
              <c:showCatName val="0"/>
              <c:showSerName val="0"/>
              <c:showPercent val="0"/>
              <c:showBubbleSize val="0"/>
            </c:dLbl>
            <c:dLbl>
              <c:idx val="3"/>
              <c:tx>
                <c:rich>
                  <a:bodyPr/>
                  <a:lstStyle/>
                  <a:p>
                    <a:r>
                      <a:t>$  1.44</a:t>
                    </a:r>
                  </a:p>
                </c:rich>
              </c:tx>
              <c:dLblPos val="t"/>
              <c:showLegendKey val="0"/>
              <c:showVal val="1"/>
              <c:showCatName val="0"/>
              <c:showSerName val="0"/>
              <c:showPercent val="0"/>
              <c:showBubbleSize val="0"/>
            </c:dLbl>
            <c:dLbl>
              <c:idx val="4"/>
              <c:tx>
                <c:rich>
                  <a:bodyPr/>
                  <a:lstStyle/>
                  <a:p>
                    <a:r>
                      <a:t>$  1.3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0.9673825303295506</c:v>
                </c:pt>
                <c:pt idx="1">
                  <c:v>3.0188074357542307</c:v>
                </c:pt>
                <c:pt idx="2">
                  <c:v>4.85378777966767</c:v>
                </c:pt>
                <c:pt idx="3">
                  <c:v>1.442316863075317</c:v>
                </c:pt>
                <c:pt idx="4">
                  <c:v>1.34322838334278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963941232588693</c:v>
                </c:pt>
                <c:pt idx="1">
                  <c:v>0.9639207677853183</c:v>
                </c:pt>
                <c:pt idx="2">
                  <c:v>1.013427419800696</c:v>
                </c:pt>
                <c:pt idx="3">
                  <c:v>1.108971135098442</c:v>
                </c:pt>
                <c:pt idx="4">
                  <c:v>0.75253815871261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136.246761</c:v>
                </c:pt>
                <c:pt idx="1">
                  <c:v>82.981697</c:v>
                </c:pt>
                <c:pt idx="2">
                  <c:v>69.15786</c:v>
                </c:pt>
                <c:pt idx="3">
                  <c:v>23.476855</c:v>
                </c:pt>
                <c:pt idx="4">
                  <c:v>2.73492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6</a:t>
                    </a:r>
                  </a:p>
                </c:rich>
              </c:tx>
              <c:dLblPos val="t"/>
              <c:showLegendKey val="0"/>
              <c:showVal val="1"/>
              <c:showCatName val="0"/>
              <c:showSerName val="0"/>
              <c:showPercent val="0"/>
              <c:showBubbleSize val="0"/>
            </c:dLbl>
            <c:dLbl>
              <c:idx val="1"/>
              <c:tx>
                <c:rich>
                  <a:bodyPr/>
                  <a:lstStyle/>
                  <a:p>
                    <a:r>
                      <a:t>$  3.00</a:t>
                    </a:r>
                  </a:p>
                </c:rich>
              </c:tx>
              <c:dLblPos val="t"/>
              <c:showLegendKey val="0"/>
              <c:showVal val="1"/>
              <c:showCatName val="0"/>
              <c:showSerName val="0"/>
              <c:showPercent val="0"/>
              <c:showBubbleSize val="0"/>
            </c:dLbl>
            <c:dLbl>
              <c:idx val="2"/>
              <c:tx>
                <c:rich>
                  <a:bodyPr/>
                  <a:lstStyle/>
                  <a:p>
                    <a:r>
                      <a:t>$  4.96</a:t>
                    </a:r>
                  </a:p>
                </c:rich>
              </c:tx>
              <c:dLblPos val="t"/>
              <c:showLegendKey val="0"/>
              <c:showVal val="1"/>
              <c:showCatName val="0"/>
              <c:showSerName val="0"/>
              <c:showPercent val="0"/>
              <c:showBubbleSize val="0"/>
            </c:dLbl>
            <c:dLbl>
              <c:idx val="3"/>
              <c:tx>
                <c:rich>
                  <a:bodyPr/>
                  <a:lstStyle/>
                  <a:p>
                    <a:r>
                      <a:t>$  1.69</a:t>
                    </a:r>
                  </a:p>
                </c:rich>
              </c:tx>
              <c:dLblPos val="t"/>
              <c:showLegendKey val="0"/>
              <c:showVal val="1"/>
              <c:showCatName val="0"/>
              <c:showSerName val="0"/>
              <c:showPercent val="0"/>
              <c:showBubbleSize val="0"/>
            </c:dLbl>
            <c:dLbl>
              <c:idx val="4"/>
              <c:tx>
                <c:rich>
                  <a:bodyPr/>
                  <a:lstStyle/>
                  <a:p>
                    <a:r>
                      <a:t>$  1.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C$2:$C$6</c:f>
              <c:numCache>
                <c:formatCode>General</c:formatCode>
                <c:ptCount val="5"/>
                <c:pt idx="0">
                  <c:v>1.058245426517648</c:v>
                </c:pt>
                <c:pt idx="1">
                  <c:v>3.0047053926334226</c:v>
                </c:pt>
                <c:pt idx="2">
                  <c:v>4.962413007090744</c:v>
                </c:pt>
                <c:pt idx="3">
                  <c:v>1.6874628077723104</c:v>
                </c:pt>
                <c:pt idx="4">
                  <c:v>1.252805035917835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sposable</c:v>
                </c:pt>
                <c:pt idx="1">
                  <c:v>Refills</c:v>
                </c:pt>
                <c:pt idx="2">
                  <c:v>Razors</c:v>
                </c:pt>
                <c:pt idx="3">
                  <c:v>Dermaplane</c:v>
                </c:pt>
                <c:pt idx="4">
                  <c:v>Hybrid</c:v>
                </c:pt>
              </c:strCache>
            </c:strRef>
          </c:cat>
          <c:val>
            <c:numRef>
              <c:f>Sheet1!$B$2:$B$6</c:f>
              <c:numCache>
                <c:formatCode>General</c:formatCode>
                <c:ptCount val="5"/>
                <c:pt idx="0">
                  <c:v>0.9959837398956418</c:v>
                </c:pt>
                <c:pt idx="1">
                  <c:v>0.9991915239273661</c:v>
                </c:pt>
                <c:pt idx="2">
                  <c:v>1.0696546115109533</c:v>
                </c:pt>
                <c:pt idx="3">
                  <c:v>1.0637320192519604</c:v>
                </c:pt>
                <c:pt idx="4">
                  <c:v>0.69534741933482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449857</c:v>
                </c:pt>
                <c:pt idx="1">
                  <c:v>4.338486</c:v>
                </c:pt>
                <c:pt idx="2">
                  <c:v>3.0204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72213</c:v>
                </c:pt>
                <c:pt idx="1">
                  <c:v>2.174866</c:v>
                </c:pt>
                <c:pt idx="2">
                  <c:v>1.91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901785</c:v>
                </c:pt>
                <c:pt idx="1">
                  <c:v>2.104327</c:v>
                </c:pt>
                <c:pt idx="2">
                  <c:v>1.5213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17999</c:v>
                </c:pt>
                <c:pt idx="1">
                  <c:v>0.581858</c:v>
                </c:pt>
                <c:pt idx="2">
                  <c:v>0.93540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1818</c:v>
                </c:pt>
                <c:pt idx="1">
                  <c:v>0.242384</c:v>
                </c:pt>
                <c:pt idx="2">
                  <c:v>0.1289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92779</c:v>
                </c:pt>
                <c:pt idx="1">
                  <c:v>0.89781</c:v>
                </c:pt>
                <c:pt idx="2">
                  <c:v>0.6791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3.838857</c:v>
                </c:pt>
                <c:pt idx="1">
                  <c:v>12.036476</c:v>
                </c:pt>
                <c:pt idx="2">
                  <c:v>4.252991</c:v>
                </c:pt>
                <c:pt idx="3">
                  <c:v>0.1280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81</a:t>
                    </a:r>
                  </a:p>
                </c:rich>
              </c:tx>
              <c:dLblPos val="t"/>
              <c:showLegendKey val="0"/>
              <c:showVal val="1"/>
              <c:showCatName val="0"/>
              <c:showSerName val="0"/>
              <c:showPercent val="0"/>
              <c:showBubbleSize val="0"/>
            </c:dLbl>
            <c:dLbl>
              <c:idx val="1"/>
              <c:tx>
                <c:rich>
                  <a:bodyPr/>
                  <a:lstStyle/>
                  <a:p>
                    <a:r>
                      <a:t>$  2.77</a:t>
                    </a:r>
                  </a:p>
                </c:rich>
              </c:tx>
              <c:dLblPos val="t"/>
              <c:showLegendKey val="0"/>
              <c:showVal val="1"/>
              <c:showCatName val="0"/>
              <c:showSerName val="0"/>
              <c:showPercent val="0"/>
              <c:showBubbleSize val="0"/>
            </c:dLbl>
            <c:dLbl>
              <c:idx val="2"/>
              <c:tx>
                <c:rich>
                  <a:bodyPr/>
                  <a:lstStyle/>
                  <a:p>
                    <a:r>
                      <a:t>$  1.71</a:t>
                    </a:r>
                  </a:p>
                </c:rich>
              </c:tx>
              <c:dLblPos val="t"/>
              <c:showLegendKey val="0"/>
              <c:showVal val="1"/>
              <c:showCatName val="0"/>
              <c:showSerName val="0"/>
              <c:showPercent val="0"/>
              <c:showBubbleSize val="0"/>
            </c:dLbl>
            <c:dLbl>
              <c:idx val="3"/>
              <c:tx>
                <c:rich>
                  <a:bodyPr/>
                  <a:lstStyle/>
                  <a:p>
                    <a:r>
                      <a:t>$  1.76</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C$2:$C$5</c:f>
              <c:numCache>
                <c:formatCode>General</c:formatCode>
                <c:ptCount val="4"/>
                <c:pt idx="0">
                  <c:v>2.8065796609193283</c:v>
                </c:pt>
                <c:pt idx="1">
                  <c:v>2.7699172555614773</c:v>
                </c:pt>
                <c:pt idx="2">
                  <c:v>1.7095465089684052</c:v>
                </c:pt>
                <c:pt idx="3">
                  <c:v>1.764167056943717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0130332662509374</c:v>
                </c:pt>
                <c:pt idx="1">
                  <c:v>1.4294093742080427</c:v>
                </c:pt>
                <c:pt idx="2">
                  <c:v>1.198661093007617</c:v>
                </c:pt>
                <c:pt idx="3">
                  <c:v>0.32013707841015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3.838857</c:v>
                </c:pt>
                <c:pt idx="1">
                  <c:v>12.036476</c:v>
                </c:pt>
                <c:pt idx="2">
                  <c:v>4.252991</c:v>
                </c:pt>
                <c:pt idx="3">
                  <c:v>0.12807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81</a:t>
                    </a:r>
                  </a:p>
                </c:rich>
              </c:tx>
              <c:dLblPos val="t"/>
              <c:showLegendKey val="0"/>
              <c:showVal val="1"/>
              <c:showCatName val="0"/>
              <c:showSerName val="0"/>
              <c:showPercent val="0"/>
              <c:showBubbleSize val="0"/>
            </c:dLbl>
            <c:dLbl>
              <c:idx val="1"/>
              <c:tx>
                <c:rich>
                  <a:bodyPr/>
                  <a:lstStyle/>
                  <a:p>
                    <a:r>
                      <a:t>$  2.77</a:t>
                    </a:r>
                  </a:p>
                </c:rich>
              </c:tx>
              <c:dLblPos val="t"/>
              <c:showLegendKey val="0"/>
              <c:showVal val="1"/>
              <c:showCatName val="0"/>
              <c:showSerName val="0"/>
              <c:showPercent val="0"/>
              <c:showBubbleSize val="0"/>
            </c:dLbl>
            <c:dLbl>
              <c:idx val="2"/>
              <c:tx>
                <c:rich>
                  <a:bodyPr/>
                  <a:lstStyle/>
                  <a:p>
                    <a:r>
                      <a:t>$  1.71</a:t>
                    </a:r>
                  </a:p>
                </c:rich>
              </c:tx>
              <c:dLblPos val="t"/>
              <c:showLegendKey val="0"/>
              <c:showVal val="1"/>
              <c:showCatName val="0"/>
              <c:showSerName val="0"/>
              <c:showPercent val="0"/>
              <c:showBubbleSize val="0"/>
            </c:dLbl>
            <c:dLbl>
              <c:idx val="3"/>
              <c:tx>
                <c:rich>
                  <a:bodyPr/>
                  <a:lstStyle/>
                  <a:p>
                    <a:r>
                      <a:t>$  1.76</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C$2:$C$5</c:f>
              <c:numCache>
                <c:formatCode>General</c:formatCode>
                <c:ptCount val="4"/>
                <c:pt idx="0">
                  <c:v>2.8065796609193283</c:v>
                </c:pt>
                <c:pt idx="1">
                  <c:v>2.7699172555614773</c:v>
                </c:pt>
                <c:pt idx="2">
                  <c:v>1.7095465089684052</c:v>
                </c:pt>
                <c:pt idx="3">
                  <c:v>1.764167056943717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azors</c:v>
                </c:pt>
                <c:pt idx="1">
                  <c:v>Refills</c:v>
                </c:pt>
                <c:pt idx="2">
                  <c:v>Disposable</c:v>
                </c:pt>
                <c:pt idx="3">
                  <c:v>Hybrid</c:v>
                </c:pt>
              </c:strCache>
            </c:strRef>
          </c:cat>
          <c:val>
            <c:numRef>
              <c:f>Sheet1!$B$2:$B$5</c:f>
              <c:numCache>
                <c:formatCode>General</c:formatCode>
                <c:ptCount val="4"/>
                <c:pt idx="0">
                  <c:v>1.0130332662509374</c:v>
                </c:pt>
                <c:pt idx="1">
                  <c:v>1.4294093742080427</c:v>
                </c:pt>
                <c:pt idx="2">
                  <c:v>1.198661093007617</c:v>
                </c:pt>
                <c:pt idx="3">
                  <c:v>0.320137078410150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75526</c:v>
                </c:pt>
                <c:pt idx="1">
                  <c:v>0.08705</c:v>
                </c:pt>
                <c:pt idx="2">
                  <c:v>0.0424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5199</c:v>
                </c:pt>
                <c:pt idx="1">
                  <c:v>0.013182</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29.546099</c:v>
                </c:pt>
                <c:pt idx="1">
                  <c:v>27.629591</c:v>
                </c:pt>
                <c:pt idx="2">
                  <c:v>13.840344</c:v>
                </c:pt>
                <c:pt idx="3">
                  <c:v>5.480306</c:v>
                </c:pt>
                <c:pt idx="4">
                  <c:v>4.128569</c:v>
                </c:pt>
                <c:pt idx="5">
                  <c:v>0.782153</c:v>
                </c:pt>
                <c:pt idx="6">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21</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2.33</a:t>
                    </a:r>
                  </a:p>
                </c:rich>
              </c:tx>
              <c:dLblPos val="t"/>
              <c:showLegendKey val="0"/>
              <c:showVal val="1"/>
              <c:showCatName val="0"/>
              <c:showSerName val="0"/>
              <c:showPercent val="0"/>
              <c:showBubbleSize val="0"/>
            </c:dLbl>
            <c:dLbl>
              <c:idx val="5"/>
              <c:tx>
                <c:rich>
                  <a:bodyPr/>
                  <a:lstStyle/>
                  <a:p>
                    <a:r>
                      <a:t>$  14.13</a:t>
                    </a:r>
                  </a:p>
                </c:rich>
              </c:tx>
              <c:dLblPos val="t"/>
              <c:showLegendKey val="0"/>
              <c:showVal val="1"/>
              <c:showCatName val="0"/>
              <c:showSerName val="0"/>
              <c:showPercent val="0"/>
              <c:showBubbleSize val="0"/>
            </c:dLbl>
            <c:dLbl>
              <c:idx val="6"/>
              <c:tx>
                <c:rich>
                  <a:bodyPr/>
                  <a:lstStyle/>
                  <a:p>
                    <a:r>
                      <a:t>$  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C$2:$C$8</c:f>
              <c:numCache>
                <c:formatCode>General</c:formatCode>
                <c:ptCount val="7"/>
                <c:pt idx="0">
                  <c:v>5.211125908782497</c:v>
                </c:pt>
                <c:pt idx="1">
                  <c:v>3.3171293428264907</c:v>
                </c:pt>
                <c:pt idx="2">
                  <c:v>3.319477895560884</c:v>
                </c:pt>
                <c:pt idx="3">
                  <c:v>2.5273291404148095</c:v>
                </c:pt>
                <c:pt idx="4">
                  <c:v>2.3272405763410653</c:v>
                </c:pt>
                <c:pt idx="5">
                  <c:v>14.133592338272498</c:v>
                </c:pt>
                <c:pt idx="6">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0.9794193672984021</c:v>
                </c:pt>
                <c:pt idx="1">
                  <c:v>1.0478251068679865</c:v>
                </c:pt>
                <c:pt idx="2">
                  <c:v>0.8088024504702626</c:v>
                </c:pt>
                <c:pt idx="3">
                  <c:v>0.9634127518489284</c:v>
                </c:pt>
                <c:pt idx="4">
                  <c:v>1.1162421673743157</c:v>
                </c:pt>
                <c:pt idx="5">
                  <c:v>0.8169962563404056</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64.558286</c:v>
                </c:pt>
                <c:pt idx="1">
                  <c:v>98.913328</c:v>
                </c:pt>
                <c:pt idx="2">
                  <c:v>45.663592</c:v>
                </c:pt>
                <c:pt idx="3">
                  <c:v>37.349224</c:v>
                </c:pt>
                <c:pt idx="4">
                  <c:v>28.381507</c:v>
                </c:pt>
                <c:pt idx="5">
                  <c:v>4.479365</c:v>
                </c:pt>
                <c:pt idx="6">
                  <c:v>3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1</a:t>
                    </a:r>
                  </a:p>
                </c:rich>
              </c:tx>
              <c:dLblPos val="t"/>
              <c:showLegendKey val="0"/>
              <c:showVal val="1"/>
              <c:showCatName val="0"/>
              <c:showSerName val="0"/>
              <c:showPercent val="0"/>
              <c:showBubbleSize val="0"/>
            </c:dLbl>
            <c:dLbl>
              <c:idx val="1"/>
              <c:tx>
                <c:rich>
                  <a:bodyPr/>
                  <a:lstStyle/>
                  <a:p>
                    <a:r>
                      <a:t>$  1.87</a:t>
                    </a:r>
                  </a:p>
                </c:rich>
              </c:tx>
              <c:dLblPos val="t"/>
              <c:showLegendKey val="0"/>
              <c:showVal val="1"/>
              <c:showCatName val="0"/>
              <c:showSerName val="0"/>
              <c:showPercent val="0"/>
              <c:showBubbleSize val="0"/>
            </c:dLbl>
            <c:dLbl>
              <c:idx val="2"/>
              <c:tx>
                <c:rich>
                  <a:bodyPr/>
                  <a:lstStyle/>
                  <a:p>
                    <a:r>
                      <a:t>$  2.50</a:t>
                    </a:r>
                  </a:p>
                </c:rich>
              </c:tx>
              <c:dLblPos val="t"/>
              <c:showLegendKey val="0"/>
              <c:showVal val="1"/>
              <c:showCatName val="0"/>
              <c:showSerName val="0"/>
              <c:showPercent val="0"/>
              <c:showBubbleSize val="0"/>
            </c:dLbl>
            <c:dLbl>
              <c:idx val="3"/>
              <c:tx>
                <c:rich>
                  <a:bodyPr/>
                  <a:lstStyle/>
                  <a:p>
                    <a:r>
                      <a:t>$  0.44</a:t>
                    </a:r>
                  </a:p>
                </c:rich>
              </c:tx>
              <c:dLblPos val="t"/>
              <c:showLegendKey val="0"/>
              <c:showVal val="1"/>
              <c:showCatName val="0"/>
              <c:showSerName val="0"/>
              <c:showPercent val="0"/>
              <c:showBubbleSize val="0"/>
            </c:dLbl>
            <c:dLbl>
              <c:idx val="4"/>
              <c:tx>
                <c:rich>
                  <a:bodyPr/>
                  <a:lstStyle/>
                  <a:p>
                    <a:r>
                      <a:t>$  1.65</a:t>
                    </a:r>
                  </a:p>
                </c:rich>
              </c:tx>
              <c:dLblPos val="t"/>
              <c:showLegendKey val="0"/>
              <c:showVal val="1"/>
              <c:showCatName val="0"/>
              <c:showSerName val="0"/>
              <c:showPercent val="0"/>
              <c:showBubbleSize val="0"/>
            </c:dLbl>
            <c:dLbl>
              <c:idx val="5"/>
              <c:tx>
                <c:rich>
                  <a:bodyPr/>
                  <a:lstStyle/>
                  <a:p>
                    <a:r>
                      <a:t>$  3.39</a:t>
                    </a:r>
                  </a:p>
                </c:rich>
              </c:tx>
              <c:dLblPos val="t"/>
              <c:showLegendKey val="0"/>
              <c:showVal val="1"/>
              <c:showCatName val="0"/>
              <c:showSerName val="0"/>
              <c:showPercent val="0"/>
              <c:showBubbleSize val="0"/>
            </c:dLbl>
            <c:dLbl>
              <c:idx val="6"/>
              <c:tx>
                <c:rich>
                  <a:bodyPr/>
                  <a:lstStyle/>
                  <a:p>
                    <a:r>
                      <a:t>$  2.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08120914266235</c:v>
                </c:pt>
                <c:pt idx="1">
                  <c:v>1.866240262755373</c:v>
                </c:pt>
                <c:pt idx="2">
                  <c:v>2.503119444002562</c:v>
                </c:pt>
                <c:pt idx="3">
                  <c:v>0.43677374550506914</c:v>
                </c:pt>
                <c:pt idx="4">
                  <c:v>1.6504069508332775</c:v>
                </c:pt>
                <c:pt idx="5">
                  <c:v>3.3927181039288397</c:v>
                </c:pt>
                <c:pt idx="6">
                  <c:v>2.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39713</c:v>
                </c:pt>
                <c:pt idx="1">
                  <c:v>0.036572</c:v>
                </c:pt>
                <c:pt idx="2">
                  <c:v>0.0218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7814</c:v>
                </c:pt>
                <c:pt idx="1">
                  <c:v>0.019982</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21915319026643</c:v>
                </c:pt>
                <c:pt idx="1">
                  <c:v>0.9606166261711413</c:v>
                </c:pt>
                <c:pt idx="2">
                  <c:v>0.9200908356026349</c:v>
                </c:pt>
                <c:pt idx="3">
                  <c:v>1.0844151240117608</c:v>
                </c:pt>
                <c:pt idx="4">
                  <c:v>1.0603436900272611</c:v>
                </c:pt>
                <c:pt idx="5">
                  <c:v>2.5281379881747643</c:v>
                </c:pt>
                <c:pt idx="6">
                  <c:v>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6.439955</c:v>
                </c:pt>
                <c:pt idx="1">
                  <c:v>5.257737</c:v>
                </c:pt>
                <c:pt idx="2">
                  <c:v>2.167254</c:v>
                </c:pt>
                <c:pt idx="3">
                  <c:v>1.969493</c:v>
                </c:pt>
                <c:pt idx="4">
                  <c:v>1.342872</c:v>
                </c:pt>
                <c:pt idx="5">
                  <c:v>0.04982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6</a:t>
                    </a:r>
                  </a:p>
                </c:rich>
              </c:tx>
              <c:dLblPos val="t"/>
              <c:showLegendKey val="0"/>
              <c:showVal val="1"/>
              <c:showCatName val="0"/>
              <c:showSerName val="0"/>
              <c:showPercent val="0"/>
              <c:showBubbleSize val="0"/>
            </c:dLbl>
            <c:dLbl>
              <c:idx val="1"/>
              <c:tx>
                <c:rich>
                  <a:bodyPr/>
                  <a:lstStyle/>
                  <a:p>
                    <a:r>
                      <a:t>$  1.88</a:t>
                    </a:r>
                  </a:p>
                </c:rich>
              </c:tx>
              <c:dLblPos val="t"/>
              <c:showLegendKey val="0"/>
              <c:showVal val="1"/>
              <c:showCatName val="0"/>
              <c:showSerName val="0"/>
              <c:showPercent val="0"/>
              <c:showBubbleSize val="0"/>
            </c:dLbl>
            <c:dLbl>
              <c:idx val="2"/>
              <c:tx>
                <c:rich>
                  <a:bodyPr/>
                  <a:lstStyle/>
                  <a:p>
                    <a:r>
                      <a:t>$  0.40</a:t>
                    </a:r>
                  </a:p>
                </c:rich>
              </c:tx>
              <c:dLblPos val="t"/>
              <c:showLegendKey val="0"/>
              <c:showVal val="1"/>
              <c:showCatName val="0"/>
              <c:showSerName val="0"/>
              <c:showPercent val="0"/>
              <c:showBubbleSize val="0"/>
            </c:dLbl>
            <c:dLbl>
              <c:idx val="3"/>
              <c:tx>
                <c:rich>
                  <a:bodyPr/>
                  <a:lstStyle/>
                  <a:p>
                    <a:r>
                      <a:t>$  2.25</a:t>
                    </a:r>
                  </a:p>
                </c:rich>
              </c:tx>
              <c:dLblPos val="t"/>
              <c:showLegendKey val="0"/>
              <c:showVal val="1"/>
              <c:showCatName val="0"/>
              <c:showSerName val="0"/>
              <c:showPercent val="0"/>
              <c:showBubbleSize val="0"/>
            </c:dLbl>
            <c:dLbl>
              <c:idx val="4"/>
              <c:tx>
                <c:rich>
                  <a:bodyPr/>
                  <a:lstStyle/>
                  <a:p>
                    <a:r>
                      <a:t>$  1.44</a:t>
                    </a:r>
                  </a:p>
                </c:rich>
              </c:tx>
              <c:dLblPos val="t"/>
              <c:showLegendKey val="0"/>
              <c:showVal val="1"/>
              <c:showCatName val="0"/>
              <c:showSerName val="0"/>
              <c:showPercent val="0"/>
              <c:showBubbleSize val="0"/>
            </c:dLbl>
            <c:dLbl>
              <c:idx val="5"/>
              <c:tx>
                <c:rich>
                  <a:bodyPr/>
                  <a:lstStyle/>
                  <a:p>
                    <a:r>
                      <a:t>$  2.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C$2:$C$7</c:f>
              <c:numCache>
                <c:formatCode>General</c:formatCode>
                <c:ptCount val="6"/>
                <c:pt idx="0">
                  <c:v>3.0586388866856615</c:v>
                </c:pt>
                <c:pt idx="1">
                  <c:v>1.8781536019272578</c:v>
                </c:pt>
                <c:pt idx="2">
                  <c:v>0.400541064416162</c:v>
                </c:pt>
                <c:pt idx="3">
                  <c:v>2.253298156053036</c:v>
                </c:pt>
                <c:pt idx="4">
                  <c:v>1.442316863075317</c:v>
                </c:pt>
                <c:pt idx="5">
                  <c:v>2.62821121485467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0.9834221957191821</c:v>
                </c:pt>
                <c:pt idx="1">
                  <c:v>0.9926976993674775</c:v>
                </c:pt>
                <c:pt idx="2">
                  <c:v>1.120966390466437</c:v>
                </c:pt>
                <c:pt idx="3">
                  <c:v>0.8894358847445962</c:v>
                </c:pt>
                <c:pt idx="4">
                  <c:v>1.108971135098442</c:v>
                </c:pt>
                <c:pt idx="5">
                  <c:v>1.239655644298474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B$2:$B$8</c:f>
              <c:numCache>
                <c:formatCode>General</c:formatCode>
                <c:ptCount val="7"/>
                <c:pt idx="0">
                  <c:v>16.410563</c:v>
                </c:pt>
                <c:pt idx="1">
                  <c:v>6.8156</c:v>
                </c:pt>
                <c:pt idx="2">
                  <c:v>2.624776</c:v>
                </c:pt>
                <c:pt idx="3">
                  <c:v>1.877162</c:v>
                </c:pt>
                <c:pt idx="4">
                  <c:v>1.796495</c:v>
                </c:pt>
                <c:pt idx="5">
                  <c:v>0.612178</c:v>
                </c:pt>
                <c:pt idx="6">
                  <c:v>0.1196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90</a:t>
                    </a:r>
                  </a:p>
                </c:rich>
              </c:tx>
              <c:dLblPos val="t"/>
              <c:showLegendKey val="0"/>
              <c:showVal val="1"/>
              <c:showCatName val="0"/>
              <c:showSerName val="0"/>
              <c:showPercent val="0"/>
              <c:showBubbleSize val="0"/>
            </c:dLbl>
            <c:dLbl>
              <c:idx val="1"/>
              <c:tx>
                <c:rich>
                  <a:bodyPr/>
                  <a:lstStyle/>
                  <a:p>
                    <a:r>
                      <a:t>$  2.28</a:t>
                    </a:r>
                  </a:p>
                </c:rich>
              </c:tx>
              <c:dLblPos val="t"/>
              <c:showLegendKey val="0"/>
              <c:showVal val="1"/>
              <c:showCatName val="0"/>
              <c:showSerName val="0"/>
              <c:showPercent val="0"/>
              <c:showBubbleSize val="0"/>
            </c:dLbl>
            <c:dLbl>
              <c:idx val="2"/>
              <c:tx>
                <c:rich>
                  <a:bodyPr/>
                  <a:lstStyle/>
                  <a:p>
                    <a:r>
                      <a:t>$  1.77</a:t>
                    </a:r>
                  </a:p>
                </c:rich>
              </c:tx>
              <c:dLblPos val="t"/>
              <c:showLegendKey val="0"/>
              <c:showVal val="1"/>
              <c:showCatName val="0"/>
              <c:showSerName val="0"/>
              <c:showPercent val="0"/>
              <c:showBubbleSize val="0"/>
            </c:dLbl>
            <c:dLbl>
              <c:idx val="3"/>
              <c:tx>
                <c:rich>
                  <a:bodyPr/>
                  <a:lstStyle/>
                  <a:p>
                    <a:r>
                      <a:t>$  2.74</a:t>
                    </a:r>
                  </a:p>
                </c:rich>
              </c:tx>
              <c:dLblPos val="t"/>
              <c:showLegendKey val="0"/>
              <c:showVal val="1"/>
              <c:showCatName val="0"/>
              <c:showSerName val="0"/>
              <c:showPercent val="0"/>
              <c:showBubbleSize val="0"/>
            </c:dLbl>
            <c:dLbl>
              <c:idx val="4"/>
              <c:tx>
                <c:rich>
                  <a:bodyPr/>
                  <a:lstStyle/>
                  <a:p>
                    <a:r>
                      <a:t>$  2.90</a:t>
                    </a:r>
                  </a:p>
                </c:rich>
              </c:tx>
              <c:dLblPos val="t"/>
              <c:showLegendKey val="0"/>
              <c:showVal val="1"/>
              <c:showCatName val="0"/>
              <c:showSerName val="0"/>
              <c:showPercent val="0"/>
              <c:showBubbleSize val="0"/>
            </c:dLbl>
            <c:dLbl>
              <c:idx val="5"/>
              <c:tx>
                <c:rich>
                  <a:bodyPr/>
                  <a:lstStyle/>
                  <a:p>
                    <a:r>
                      <a:t>$  1.73</a:t>
                    </a:r>
                  </a:p>
                </c:rich>
              </c:tx>
              <c:dLblPos val="t"/>
              <c:showLegendKey val="0"/>
              <c:showVal val="1"/>
              <c:showCatName val="0"/>
              <c:showSerName val="0"/>
              <c:showPercent val="0"/>
              <c:showBubbleSize val="0"/>
            </c:dLbl>
            <c:dLbl>
              <c:idx val="6"/>
              <c:tx>
                <c:rich>
                  <a:bodyPr/>
                  <a:lstStyle/>
                  <a:p>
                    <a:r>
                      <a:t>$  2.5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C$2:$C$8</c:f>
              <c:numCache>
                <c:formatCode>General</c:formatCode>
                <c:ptCount val="7"/>
                <c:pt idx="0">
                  <c:v>2.9034575968192926</c:v>
                </c:pt>
                <c:pt idx="1">
                  <c:v>2.2751967963776316</c:v>
                </c:pt>
                <c:pt idx="2">
                  <c:v>1.7689446552757127</c:v>
                </c:pt>
                <c:pt idx="3">
                  <c:v>2.7422680412371134</c:v>
                </c:pt>
                <c:pt idx="4">
                  <c:v>2.901770787736451</c:v>
                </c:pt>
                <c:pt idx="5">
                  <c:v>1.7280325633780553</c:v>
                </c:pt>
                <c:pt idx="6">
                  <c:v>2.52971155472847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B$2:$B$8</c:f>
              <c:numCache>
                <c:formatCode>General</c:formatCode>
                <c:ptCount val="7"/>
                <c:pt idx="0">
                  <c:v>1.1702180246042555</c:v>
                </c:pt>
                <c:pt idx="1">
                  <c:v>1.2489346508265973</c:v>
                </c:pt>
                <c:pt idx="2">
                  <c:v>1.144053660477789</c:v>
                </c:pt>
                <c:pt idx="3">
                  <c:v>0.7514816161105035</c:v>
                </c:pt>
                <c:pt idx="4">
                  <c:v>1.8292737564416783</c:v>
                </c:pt>
                <c:pt idx="5">
                  <c:v>0.8479506891058938</c:v>
                </c:pt>
                <c:pt idx="6">
                  <c:v>2.27031181795752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521.943642</c:v>
                </c:pt>
                <c:pt idx="1">
                  <c:v>361.487864</c:v>
                </c:pt>
                <c:pt idx="2">
                  <c:v>144.711266</c:v>
                </c:pt>
                <c:pt idx="3">
                  <c:v>89.511723</c:v>
                </c:pt>
                <c:pt idx="4">
                  <c:v>78.694716</c:v>
                </c:pt>
                <c:pt idx="5">
                  <c:v>17.75949</c:v>
                </c:pt>
                <c:pt idx="6">
                  <c:v>1.6713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34</a:t>
                    </a:r>
                  </a:p>
                </c:rich>
              </c:tx>
              <c:dLblPos val="t"/>
              <c:showLegendKey val="0"/>
              <c:showVal val="1"/>
              <c:showCatName val="0"/>
              <c:showSerName val="0"/>
              <c:showPercent val="0"/>
              <c:showBubbleSize val="0"/>
            </c:dLbl>
            <c:dLbl>
              <c:idx val="1"/>
              <c:tx>
                <c:rich>
                  <a:bodyPr/>
                  <a:lstStyle/>
                  <a:p>
                    <a:r>
                      <a:t>$  2.00</a:t>
                    </a:r>
                  </a:p>
                </c:rich>
              </c:tx>
              <c:dLblPos val="t"/>
              <c:showLegendKey val="0"/>
              <c:showVal val="1"/>
              <c:showCatName val="0"/>
              <c:showSerName val="0"/>
              <c:showPercent val="0"/>
              <c:showBubbleSize val="0"/>
            </c:dLbl>
            <c:dLbl>
              <c:idx val="2"/>
              <c:tx>
                <c:rich>
                  <a:bodyPr/>
                  <a:lstStyle/>
                  <a:p>
                    <a:r>
                      <a:t>$  2.55</a:t>
                    </a:r>
                  </a:p>
                </c:rich>
              </c:tx>
              <c:dLblPos val="t"/>
              <c:showLegendKey val="0"/>
              <c:showVal val="1"/>
              <c:showCatName val="0"/>
              <c:showSerName val="0"/>
              <c:showPercent val="0"/>
              <c:showBubbleSize val="0"/>
            </c:dLbl>
            <c:dLbl>
              <c:idx val="3"/>
              <c:tx>
                <c:rich>
                  <a:bodyPr/>
                  <a:lstStyle/>
                  <a:p>
                    <a:r>
                      <a:t>$  0.54</a:t>
                    </a:r>
                  </a:p>
                </c:rich>
              </c:tx>
              <c:dLblPos val="t"/>
              <c:showLegendKey val="0"/>
              <c:showVal val="1"/>
              <c:showCatName val="0"/>
              <c:showSerName val="0"/>
              <c:showPercent val="0"/>
              <c:showBubbleSize val="0"/>
            </c:dLbl>
            <c:dLbl>
              <c:idx val="4"/>
              <c:tx>
                <c:rich>
                  <a:bodyPr/>
                  <a:lstStyle/>
                  <a:p>
                    <a:r>
                      <a:t>$  2.03</a:t>
                    </a:r>
                  </a:p>
                </c:rich>
              </c:tx>
              <c:dLblPos val="t"/>
              <c:showLegendKey val="0"/>
              <c:showVal val="1"/>
              <c:showCatName val="0"/>
              <c:showSerName val="0"/>
              <c:showPercent val="0"/>
              <c:showBubbleSize val="0"/>
            </c:dLbl>
            <c:dLbl>
              <c:idx val="5"/>
              <c:tx>
                <c:rich>
                  <a:bodyPr/>
                  <a:lstStyle/>
                  <a:p>
                    <a:r>
                      <a:t>$  4.09</a:t>
                    </a:r>
                  </a:p>
                </c:rich>
              </c:tx>
              <c:dLblPos val="t"/>
              <c:showLegendKey val="0"/>
              <c:showVal val="1"/>
              <c:showCatName val="0"/>
              <c:showSerName val="0"/>
              <c:showPercent val="0"/>
              <c:showBubbleSize val="0"/>
            </c:dLbl>
            <c:dLbl>
              <c:idx val="6"/>
              <c:tx>
                <c:rich>
                  <a:bodyPr/>
                  <a:lstStyle/>
                  <a:p>
                    <a:r>
                      <a:t>$  1.8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3448621048980502</c:v>
                </c:pt>
                <c:pt idx="1">
                  <c:v>2.0049861436385354</c:v>
                </c:pt>
                <c:pt idx="2">
                  <c:v>2.5501034464881394</c:v>
                </c:pt>
                <c:pt idx="3">
                  <c:v>0.5374813618219753</c:v>
                </c:pt>
                <c:pt idx="4">
                  <c:v>2.028374665595345</c:v>
                </c:pt>
                <c:pt idx="5">
                  <c:v>4.089133230825766</c:v>
                </c:pt>
                <c:pt idx="6">
                  <c:v>1.859530991144751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327418002354252</c:v>
                </c:pt>
                <c:pt idx="1">
                  <c:v>1.0018697790352322</c:v>
                </c:pt>
                <c:pt idx="2">
                  <c:v>0.9129046552008334</c:v>
                </c:pt>
                <c:pt idx="3">
                  <c:v>1.0569399215669086</c:v>
                </c:pt>
                <c:pt idx="4">
                  <c:v>1.0904410452608315</c:v>
                </c:pt>
                <c:pt idx="5">
                  <c:v>1.5672435629975876</c:v>
                </c:pt>
                <c:pt idx="6">
                  <c:v>0.8434659030692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521.943642</c:v>
                </c:pt>
                <c:pt idx="1">
                  <c:v>361.487864</c:v>
                </c:pt>
                <c:pt idx="2">
                  <c:v>144.711266</c:v>
                </c:pt>
                <c:pt idx="3">
                  <c:v>89.511723</c:v>
                </c:pt>
                <c:pt idx="4">
                  <c:v>78.694716</c:v>
                </c:pt>
                <c:pt idx="5">
                  <c:v>17.75949</c:v>
                </c:pt>
                <c:pt idx="6">
                  <c:v>1.6713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34</a:t>
                    </a:r>
                  </a:p>
                </c:rich>
              </c:tx>
              <c:dLblPos val="t"/>
              <c:showLegendKey val="0"/>
              <c:showVal val="1"/>
              <c:showCatName val="0"/>
              <c:showSerName val="0"/>
              <c:showPercent val="0"/>
              <c:showBubbleSize val="0"/>
            </c:dLbl>
            <c:dLbl>
              <c:idx val="1"/>
              <c:tx>
                <c:rich>
                  <a:bodyPr/>
                  <a:lstStyle/>
                  <a:p>
                    <a:r>
                      <a:t>$  2.00</a:t>
                    </a:r>
                  </a:p>
                </c:rich>
              </c:tx>
              <c:dLblPos val="t"/>
              <c:showLegendKey val="0"/>
              <c:showVal val="1"/>
              <c:showCatName val="0"/>
              <c:showSerName val="0"/>
              <c:showPercent val="0"/>
              <c:showBubbleSize val="0"/>
            </c:dLbl>
            <c:dLbl>
              <c:idx val="2"/>
              <c:tx>
                <c:rich>
                  <a:bodyPr/>
                  <a:lstStyle/>
                  <a:p>
                    <a:r>
                      <a:t>$  2.55</a:t>
                    </a:r>
                  </a:p>
                </c:rich>
              </c:tx>
              <c:dLblPos val="t"/>
              <c:showLegendKey val="0"/>
              <c:showVal val="1"/>
              <c:showCatName val="0"/>
              <c:showSerName val="0"/>
              <c:showPercent val="0"/>
              <c:showBubbleSize val="0"/>
            </c:dLbl>
            <c:dLbl>
              <c:idx val="3"/>
              <c:tx>
                <c:rich>
                  <a:bodyPr/>
                  <a:lstStyle/>
                  <a:p>
                    <a:r>
                      <a:t>$  0.54</a:t>
                    </a:r>
                  </a:p>
                </c:rich>
              </c:tx>
              <c:dLblPos val="t"/>
              <c:showLegendKey val="0"/>
              <c:showVal val="1"/>
              <c:showCatName val="0"/>
              <c:showSerName val="0"/>
              <c:showPercent val="0"/>
              <c:showBubbleSize val="0"/>
            </c:dLbl>
            <c:dLbl>
              <c:idx val="4"/>
              <c:tx>
                <c:rich>
                  <a:bodyPr/>
                  <a:lstStyle/>
                  <a:p>
                    <a:r>
                      <a:t>$  2.03</a:t>
                    </a:r>
                  </a:p>
                </c:rich>
              </c:tx>
              <c:dLblPos val="t"/>
              <c:showLegendKey val="0"/>
              <c:showVal val="1"/>
              <c:showCatName val="0"/>
              <c:showSerName val="0"/>
              <c:showPercent val="0"/>
              <c:showBubbleSize val="0"/>
            </c:dLbl>
            <c:dLbl>
              <c:idx val="5"/>
              <c:tx>
                <c:rich>
                  <a:bodyPr/>
                  <a:lstStyle/>
                  <a:p>
                    <a:r>
                      <a:t>$  4.09</a:t>
                    </a:r>
                  </a:p>
                </c:rich>
              </c:tx>
              <c:dLblPos val="t"/>
              <c:showLegendKey val="0"/>
              <c:showVal val="1"/>
              <c:showCatName val="0"/>
              <c:showSerName val="0"/>
              <c:showPercent val="0"/>
              <c:showBubbleSize val="0"/>
            </c:dLbl>
            <c:dLbl>
              <c:idx val="6"/>
              <c:tx>
                <c:rich>
                  <a:bodyPr/>
                  <a:lstStyle/>
                  <a:p>
                    <a:r>
                      <a:t>$  1.8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3448621048980502</c:v>
                </c:pt>
                <c:pt idx="1">
                  <c:v>2.0049861436385354</c:v>
                </c:pt>
                <c:pt idx="2">
                  <c:v>2.5501034464881394</c:v>
                </c:pt>
                <c:pt idx="3">
                  <c:v>0.5374813618219753</c:v>
                </c:pt>
                <c:pt idx="4">
                  <c:v>2.028374665595345</c:v>
                </c:pt>
                <c:pt idx="5">
                  <c:v>4.089133230825766</c:v>
                </c:pt>
                <c:pt idx="6">
                  <c:v>1.859530991144751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327418002354252</c:v>
                </c:pt>
                <c:pt idx="1">
                  <c:v>1.0018697790352322</c:v>
                </c:pt>
                <c:pt idx="2">
                  <c:v>0.9129046552008334</c:v>
                </c:pt>
                <c:pt idx="3">
                  <c:v>1.0569399215669086</c:v>
                </c:pt>
                <c:pt idx="4">
                  <c:v>1.0904410452608315</c:v>
                </c:pt>
                <c:pt idx="5">
                  <c:v>1.5672435629975876</c:v>
                </c:pt>
                <c:pt idx="6">
                  <c:v>0.84346590306929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Rem Blades</c:v>
                </c:pt>
                <c:pt idx="5">
                  <c:v>6 Blade</c:v>
                </c:pt>
                <c:pt idx="6">
                  <c:v>1 Blade</c:v>
                </c:pt>
              </c:strCache>
            </c:strRef>
          </c:cat>
          <c:val>
            <c:numRef>
              <c:f>Sheet1!$B$2:$B$8</c:f>
              <c:numCache>
                <c:formatCode>General</c:formatCode>
                <c:ptCount val="7"/>
                <c:pt idx="0">
                  <c:v>61.267196</c:v>
                </c:pt>
                <c:pt idx="1">
                  <c:v>31.266579</c:v>
                </c:pt>
                <c:pt idx="2">
                  <c:v>13.435693</c:v>
                </c:pt>
                <c:pt idx="3">
                  <c:v>7.363447</c:v>
                </c:pt>
                <c:pt idx="4">
                  <c:v>6.056051</c:v>
                </c:pt>
                <c:pt idx="5">
                  <c:v>0.612178</c:v>
                </c:pt>
                <c:pt idx="6">
                  <c:v>0.15034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71</a:t>
                    </a:r>
                  </a:p>
                </c:rich>
              </c:tx>
              <c:dLblPos val="t"/>
              <c:showLegendKey val="0"/>
              <c:showVal val="1"/>
              <c:showCatName val="0"/>
              <c:showSerName val="0"/>
              <c:showPercent val="0"/>
              <c:showBubbleSize val="0"/>
            </c:dLbl>
            <c:dLbl>
              <c:idx val="1"/>
              <c:tx>
                <c:rich>
                  <a:bodyPr/>
                  <a:lstStyle/>
                  <a:p>
                    <a:r>
                      <a:t>$  2.26</a:t>
                    </a:r>
                  </a:p>
                </c:rich>
              </c:tx>
              <c:dLblPos val="t"/>
              <c:showLegendKey val="0"/>
              <c:showVal val="1"/>
              <c:showCatName val="0"/>
              <c:showSerName val="0"/>
              <c:showPercent val="0"/>
              <c:showBubbleSize val="0"/>
            </c:dLbl>
            <c:dLbl>
              <c:idx val="2"/>
              <c:tx>
                <c:rich>
                  <a:bodyPr/>
                  <a:lstStyle/>
                  <a:p>
                    <a:r>
                      <a:t>$  2.39</a:t>
                    </a:r>
                  </a:p>
                </c:rich>
              </c:tx>
              <c:dLblPos val="t"/>
              <c:showLegendKey val="0"/>
              <c:showVal val="1"/>
              <c:showCatName val="0"/>
              <c:showSerName val="0"/>
              <c:showPercent val="0"/>
              <c:showBubbleSize val="0"/>
            </c:dLbl>
            <c:dLbl>
              <c:idx val="3"/>
              <c:tx>
                <c:rich>
                  <a:bodyPr/>
                  <a:lstStyle/>
                  <a:p>
                    <a:r>
                      <a:t>$  0.82</a:t>
                    </a:r>
                  </a:p>
                </c:rich>
              </c:tx>
              <c:dLblPos val="t"/>
              <c:showLegendKey val="0"/>
              <c:showVal val="1"/>
              <c:showCatName val="0"/>
              <c:showSerName val="0"/>
              <c:showPercent val="0"/>
              <c:showBubbleSize val="0"/>
            </c:dLbl>
            <c:dLbl>
              <c:idx val="4"/>
              <c:tx>
                <c:rich>
                  <a:bodyPr/>
                  <a:lstStyle/>
                  <a:p>
                    <a:r>
                      <a:t>$  3.65</a:t>
                    </a:r>
                  </a:p>
                </c:rich>
              </c:tx>
              <c:dLblPos val="t"/>
              <c:showLegendKey val="0"/>
              <c:showVal val="1"/>
              <c:showCatName val="0"/>
              <c:showSerName val="0"/>
              <c:showPercent val="0"/>
              <c:showBubbleSize val="0"/>
            </c:dLbl>
            <c:dLbl>
              <c:idx val="5"/>
              <c:tx>
                <c:rich>
                  <a:bodyPr/>
                  <a:lstStyle/>
                  <a:p>
                    <a:r>
                      <a:t>$  1.73</a:t>
                    </a:r>
                  </a:p>
                </c:rich>
              </c:tx>
              <c:dLblPos val="t"/>
              <c:showLegendKey val="0"/>
              <c:showVal val="1"/>
              <c:showCatName val="0"/>
              <c:showSerName val="0"/>
              <c:showPercent val="0"/>
              <c:showBubbleSize val="0"/>
            </c:dLbl>
            <c:dLbl>
              <c:idx val="6"/>
              <c:tx>
                <c:rich>
                  <a:bodyPr/>
                  <a:lstStyle/>
                  <a:p>
                    <a:r>
                      <a:t>$  1.4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Rem Blades</c:v>
                </c:pt>
                <c:pt idx="5">
                  <c:v>6 Blade</c:v>
                </c:pt>
                <c:pt idx="6">
                  <c:v>1 Blade</c:v>
                </c:pt>
              </c:strCache>
            </c:strRef>
          </c:cat>
          <c:val>
            <c:numRef>
              <c:f>Sheet1!$C$2:$C$8</c:f>
              <c:numCache>
                <c:formatCode>General</c:formatCode>
                <c:ptCount val="7"/>
                <c:pt idx="0">
                  <c:v>2.710693433928392</c:v>
                </c:pt>
                <c:pt idx="1">
                  <c:v>2.2588201152492746</c:v>
                </c:pt>
                <c:pt idx="2">
                  <c:v>2.3906803683753233</c:v>
                </c:pt>
                <c:pt idx="3">
                  <c:v>0.8220676084163538</c:v>
                </c:pt>
                <c:pt idx="4">
                  <c:v>3.6548153718212246</c:v>
                </c:pt>
                <c:pt idx="5">
                  <c:v>1.7280325633780553</c:v>
                </c:pt>
                <c:pt idx="6">
                  <c:v>1.40337530686729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Rem Blades</c:v>
                </c:pt>
                <c:pt idx="5">
                  <c:v>6 Blade</c:v>
                </c:pt>
                <c:pt idx="6">
                  <c:v>1 Blade</c:v>
                </c:pt>
              </c:strCache>
            </c:strRef>
          </c:cat>
          <c:val>
            <c:numRef>
              <c:f>Sheet1!$B$2:$B$8</c:f>
              <c:numCache>
                <c:formatCode>General</c:formatCode>
                <c:ptCount val="7"/>
                <c:pt idx="0">
                  <c:v>1.1884964418741415</c:v>
                </c:pt>
                <c:pt idx="1">
                  <c:v>1.0590559598383176</c:v>
                </c:pt>
                <c:pt idx="2">
                  <c:v>1.081879608269466</c:v>
                </c:pt>
                <c:pt idx="3">
                  <c:v>1.243434623001114</c:v>
                </c:pt>
                <c:pt idx="4">
                  <c:v>1.4553501330014444</c:v>
                </c:pt>
                <c:pt idx="5">
                  <c:v>0.8479506891058938</c:v>
                </c:pt>
                <c:pt idx="6">
                  <c:v>1.23555661478279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29.546099</c:v>
                </c:pt>
                <c:pt idx="1">
                  <c:v>27.629591</c:v>
                </c:pt>
                <c:pt idx="2">
                  <c:v>13.840344</c:v>
                </c:pt>
                <c:pt idx="3">
                  <c:v>5.480306</c:v>
                </c:pt>
                <c:pt idx="4">
                  <c:v>4.128569</c:v>
                </c:pt>
                <c:pt idx="5">
                  <c:v>0.782153</c:v>
                </c:pt>
                <c:pt idx="6">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21</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2.33</a:t>
                    </a:r>
                  </a:p>
                </c:rich>
              </c:tx>
              <c:dLblPos val="t"/>
              <c:showLegendKey val="0"/>
              <c:showVal val="1"/>
              <c:showCatName val="0"/>
              <c:showSerName val="0"/>
              <c:showPercent val="0"/>
              <c:showBubbleSize val="0"/>
            </c:dLbl>
            <c:dLbl>
              <c:idx val="5"/>
              <c:tx>
                <c:rich>
                  <a:bodyPr/>
                  <a:lstStyle/>
                  <a:p>
                    <a:r>
                      <a:t>$  14.13</a:t>
                    </a:r>
                  </a:p>
                </c:rich>
              </c:tx>
              <c:dLblPos val="t"/>
              <c:showLegendKey val="0"/>
              <c:showVal val="1"/>
              <c:showCatName val="0"/>
              <c:showSerName val="0"/>
              <c:showPercent val="0"/>
              <c:showBubbleSize val="0"/>
            </c:dLbl>
            <c:dLbl>
              <c:idx val="6"/>
              <c:tx>
                <c:rich>
                  <a:bodyPr/>
                  <a:lstStyle/>
                  <a:p>
                    <a:r>
                      <a:t>$  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C$2:$C$8</c:f>
              <c:numCache>
                <c:formatCode>General</c:formatCode>
                <c:ptCount val="7"/>
                <c:pt idx="0">
                  <c:v>5.211125908782497</c:v>
                </c:pt>
                <c:pt idx="1">
                  <c:v>3.3171293428264907</c:v>
                </c:pt>
                <c:pt idx="2">
                  <c:v>3.319477895560884</c:v>
                </c:pt>
                <c:pt idx="3">
                  <c:v>2.5273291404148095</c:v>
                </c:pt>
                <c:pt idx="4">
                  <c:v>2.3272405763410653</c:v>
                </c:pt>
                <c:pt idx="5">
                  <c:v>14.133592338272498</c:v>
                </c:pt>
                <c:pt idx="6">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0.9794193672984021</c:v>
                </c:pt>
                <c:pt idx="1">
                  <c:v>1.0478251068679865</c:v>
                </c:pt>
                <c:pt idx="2">
                  <c:v>0.8088024504702626</c:v>
                </c:pt>
                <c:pt idx="3">
                  <c:v>0.9634127518489284</c:v>
                </c:pt>
                <c:pt idx="4">
                  <c:v>1.1162421673743157</c:v>
                </c:pt>
                <c:pt idx="5">
                  <c:v>0.8169962563404056</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29.546099</c:v>
                </c:pt>
                <c:pt idx="1">
                  <c:v>27.629591</c:v>
                </c:pt>
                <c:pt idx="2">
                  <c:v>13.840344</c:v>
                </c:pt>
                <c:pt idx="3">
                  <c:v>5.480306</c:v>
                </c:pt>
                <c:pt idx="4">
                  <c:v>4.128569</c:v>
                </c:pt>
                <c:pt idx="5">
                  <c:v>0.782153</c:v>
                </c:pt>
                <c:pt idx="6">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21</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2.33</a:t>
                    </a:r>
                  </a:p>
                </c:rich>
              </c:tx>
              <c:dLblPos val="t"/>
              <c:showLegendKey val="0"/>
              <c:showVal val="1"/>
              <c:showCatName val="0"/>
              <c:showSerName val="0"/>
              <c:showPercent val="0"/>
              <c:showBubbleSize val="0"/>
            </c:dLbl>
            <c:dLbl>
              <c:idx val="5"/>
              <c:tx>
                <c:rich>
                  <a:bodyPr/>
                  <a:lstStyle/>
                  <a:p>
                    <a:r>
                      <a:t>$  14.13</a:t>
                    </a:r>
                  </a:p>
                </c:rich>
              </c:tx>
              <c:dLblPos val="t"/>
              <c:showLegendKey val="0"/>
              <c:showVal val="1"/>
              <c:showCatName val="0"/>
              <c:showSerName val="0"/>
              <c:showPercent val="0"/>
              <c:showBubbleSize val="0"/>
            </c:dLbl>
            <c:dLbl>
              <c:idx val="6"/>
              <c:tx>
                <c:rich>
                  <a:bodyPr/>
                  <a:lstStyle/>
                  <a:p>
                    <a:r>
                      <a:t>$  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C$2:$C$8</c:f>
              <c:numCache>
                <c:formatCode>General</c:formatCode>
                <c:ptCount val="7"/>
                <c:pt idx="0">
                  <c:v>5.211125908782497</c:v>
                </c:pt>
                <c:pt idx="1">
                  <c:v>3.3171293428264907</c:v>
                </c:pt>
                <c:pt idx="2">
                  <c:v>3.319477895560884</c:v>
                </c:pt>
                <c:pt idx="3">
                  <c:v>2.5273291404148095</c:v>
                </c:pt>
                <c:pt idx="4">
                  <c:v>2.3272405763410653</c:v>
                </c:pt>
                <c:pt idx="5">
                  <c:v>14.133592338272498</c:v>
                </c:pt>
                <c:pt idx="6">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0.9794193672984021</c:v>
                </c:pt>
                <c:pt idx="1">
                  <c:v>1.0478251068679865</c:v>
                </c:pt>
                <c:pt idx="2">
                  <c:v>0.8088024504702626</c:v>
                </c:pt>
                <c:pt idx="3">
                  <c:v>0.9634127518489284</c:v>
                </c:pt>
                <c:pt idx="4">
                  <c:v>1.1162421673743157</c:v>
                </c:pt>
                <c:pt idx="5">
                  <c:v>0.8169962563404056</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64.558286</c:v>
                </c:pt>
                <c:pt idx="1">
                  <c:v>98.913328</c:v>
                </c:pt>
                <c:pt idx="2">
                  <c:v>45.663592</c:v>
                </c:pt>
                <c:pt idx="3">
                  <c:v>37.349224</c:v>
                </c:pt>
                <c:pt idx="4">
                  <c:v>28.381507</c:v>
                </c:pt>
                <c:pt idx="5">
                  <c:v>4.479365</c:v>
                </c:pt>
                <c:pt idx="6">
                  <c:v>3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1</a:t>
                    </a:r>
                  </a:p>
                </c:rich>
              </c:tx>
              <c:dLblPos val="t"/>
              <c:showLegendKey val="0"/>
              <c:showVal val="1"/>
              <c:showCatName val="0"/>
              <c:showSerName val="0"/>
              <c:showPercent val="0"/>
              <c:showBubbleSize val="0"/>
            </c:dLbl>
            <c:dLbl>
              <c:idx val="1"/>
              <c:tx>
                <c:rich>
                  <a:bodyPr/>
                  <a:lstStyle/>
                  <a:p>
                    <a:r>
                      <a:t>$  1.87</a:t>
                    </a:r>
                  </a:p>
                </c:rich>
              </c:tx>
              <c:dLblPos val="t"/>
              <c:showLegendKey val="0"/>
              <c:showVal val="1"/>
              <c:showCatName val="0"/>
              <c:showSerName val="0"/>
              <c:showPercent val="0"/>
              <c:showBubbleSize val="0"/>
            </c:dLbl>
            <c:dLbl>
              <c:idx val="2"/>
              <c:tx>
                <c:rich>
                  <a:bodyPr/>
                  <a:lstStyle/>
                  <a:p>
                    <a:r>
                      <a:t>$  2.50</a:t>
                    </a:r>
                  </a:p>
                </c:rich>
              </c:tx>
              <c:dLblPos val="t"/>
              <c:showLegendKey val="0"/>
              <c:showVal val="1"/>
              <c:showCatName val="0"/>
              <c:showSerName val="0"/>
              <c:showPercent val="0"/>
              <c:showBubbleSize val="0"/>
            </c:dLbl>
            <c:dLbl>
              <c:idx val="3"/>
              <c:tx>
                <c:rich>
                  <a:bodyPr/>
                  <a:lstStyle/>
                  <a:p>
                    <a:r>
                      <a:t>$  0.44</a:t>
                    </a:r>
                  </a:p>
                </c:rich>
              </c:tx>
              <c:dLblPos val="t"/>
              <c:showLegendKey val="0"/>
              <c:showVal val="1"/>
              <c:showCatName val="0"/>
              <c:showSerName val="0"/>
              <c:showPercent val="0"/>
              <c:showBubbleSize val="0"/>
            </c:dLbl>
            <c:dLbl>
              <c:idx val="4"/>
              <c:tx>
                <c:rich>
                  <a:bodyPr/>
                  <a:lstStyle/>
                  <a:p>
                    <a:r>
                      <a:t>$  1.65</a:t>
                    </a:r>
                  </a:p>
                </c:rich>
              </c:tx>
              <c:dLblPos val="t"/>
              <c:showLegendKey val="0"/>
              <c:showVal val="1"/>
              <c:showCatName val="0"/>
              <c:showSerName val="0"/>
              <c:showPercent val="0"/>
              <c:showBubbleSize val="0"/>
            </c:dLbl>
            <c:dLbl>
              <c:idx val="5"/>
              <c:tx>
                <c:rich>
                  <a:bodyPr/>
                  <a:lstStyle/>
                  <a:p>
                    <a:r>
                      <a:t>$  3.39</a:t>
                    </a:r>
                  </a:p>
                </c:rich>
              </c:tx>
              <c:dLblPos val="t"/>
              <c:showLegendKey val="0"/>
              <c:showVal val="1"/>
              <c:showCatName val="0"/>
              <c:showSerName val="0"/>
              <c:showPercent val="0"/>
              <c:showBubbleSize val="0"/>
            </c:dLbl>
            <c:dLbl>
              <c:idx val="6"/>
              <c:tx>
                <c:rich>
                  <a:bodyPr/>
                  <a:lstStyle/>
                  <a:p>
                    <a:r>
                      <a:t>$  2.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08120914266235</c:v>
                </c:pt>
                <c:pt idx="1">
                  <c:v>1.866240262755373</c:v>
                </c:pt>
                <c:pt idx="2">
                  <c:v>2.503119444002562</c:v>
                </c:pt>
                <c:pt idx="3">
                  <c:v>0.43677374550506914</c:v>
                </c:pt>
                <c:pt idx="4">
                  <c:v>1.6504069508332775</c:v>
                </c:pt>
                <c:pt idx="5">
                  <c:v>3.3927181039288397</c:v>
                </c:pt>
                <c:pt idx="6">
                  <c:v>2.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21915319026643</c:v>
                </c:pt>
                <c:pt idx="1">
                  <c:v>0.9606166261711413</c:v>
                </c:pt>
                <c:pt idx="2">
                  <c:v>0.9200908356026349</c:v>
                </c:pt>
                <c:pt idx="3">
                  <c:v>1.0844151240117608</c:v>
                </c:pt>
                <c:pt idx="4">
                  <c:v>1.0603436900272611</c:v>
                </c:pt>
                <c:pt idx="5">
                  <c:v>2.5281379881747643</c:v>
                </c:pt>
                <c:pt idx="6">
                  <c:v>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64.558286</c:v>
                </c:pt>
                <c:pt idx="1">
                  <c:v>98.913328</c:v>
                </c:pt>
                <c:pt idx="2">
                  <c:v>45.663592</c:v>
                </c:pt>
                <c:pt idx="3">
                  <c:v>37.349224</c:v>
                </c:pt>
                <c:pt idx="4">
                  <c:v>28.381507</c:v>
                </c:pt>
                <c:pt idx="5">
                  <c:v>4.479365</c:v>
                </c:pt>
                <c:pt idx="6">
                  <c:v>3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1</a:t>
                    </a:r>
                  </a:p>
                </c:rich>
              </c:tx>
              <c:dLblPos val="t"/>
              <c:showLegendKey val="0"/>
              <c:showVal val="1"/>
              <c:showCatName val="0"/>
              <c:showSerName val="0"/>
              <c:showPercent val="0"/>
              <c:showBubbleSize val="0"/>
            </c:dLbl>
            <c:dLbl>
              <c:idx val="1"/>
              <c:tx>
                <c:rich>
                  <a:bodyPr/>
                  <a:lstStyle/>
                  <a:p>
                    <a:r>
                      <a:t>$  1.87</a:t>
                    </a:r>
                  </a:p>
                </c:rich>
              </c:tx>
              <c:dLblPos val="t"/>
              <c:showLegendKey val="0"/>
              <c:showVal val="1"/>
              <c:showCatName val="0"/>
              <c:showSerName val="0"/>
              <c:showPercent val="0"/>
              <c:showBubbleSize val="0"/>
            </c:dLbl>
            <c:dLbl>
              <c:idx val="2"/>
              <c:tx>
                <c:rich>
                  <a:bodyPr/>
                  <a:lstStyle/>
                  <a:p>
                    <a:r>
                      <a:t>$  2.50</a:t>
                    </a:r>
                  </a:p>
                </c:rich>
              </c:tx>
              <c:dLblPos val="t"/>
              <c:showLegendKey val="0"/>
              <c:showVal val="1"/>
              <c:showCatName val="0"/>
              <c:showSerName val="0"/>
              <c:showPercent val="0"/>
              <c:showBubbleSize val="0"/>
            </c:dLbl>
            <c:dLbl>
              <c:idx val="3"/>
              <c:tx>
                <c:rich>
                  <a:bodyPr/>
                  <a:lstStyle/>
                  <a:p>
                    <a:r>
                      <a:t>$  0.44</a:t>
                    </a:r>
                  </a:p>
                </c:rich>
              </c:tx>
              <c:dLblPos val="t"/>
              <c:showLegendKey val="0"/>
              <c:showVal val="1"/>
              <c:showCatName val="0"/>
              <c:showSerName val="0"/>
              <c:showPercent val="0"/>
              <c:showBubbleSize val="0"/>
            </c:dLbl>
            <c:dLbl>
              <c:idx val="4"/>
              <c:tx>
                <c:rich>
                  <a:bodyPr/>
                  <a:lstStyle/>
                  <a:p>
                    <a:r>
                      <a:t>$  1.65</a:t>
                    </a:r>
                  </a:p>
                </c:rich>
              </c:tx>
              <c:dLblPos val="t"/>
              <c:showLegendKey val="0"/>
              <c:showVal val="1"/>
              <c:showCatName val="0"/>
              <c:showSerName val="0"/>
              <c:showPercent val="0"/>
              <c:showBubbleSize val="0"/>
            </c:dLbl>
            <c:dLbl>
              <c:idx val="5"/>
              <c:tx>
                <c:rich>
                  <a:bodyPr/>
                  <a:lstStyle/>
                  <a:p>
                    <a:r>
                      <a:t>$  3.39</a:t>
                    </a:r>
                  </a:p>
                </c:rich>
              </c:tx>
              <c:dLblPos val="t"/>
              <c:showLegendKey val="0"/>
              <c:showVal val="1"/>
              <c:showCatName val="0"/>
              <c:showSerName val="0"/>
              <c:showPercent val="0"/>
              <c:showBubbleSize val="0"/>
            </c:dLbl>
            <c:dLbl>
              <c:idx val="6"/>
              <c:tx>
                <c:rich>
                  <a:bodyPr/>
                  <a:lstStyle/>
                  <a:p>
                    <a:r>
                      <a:t>$  2.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08120914266235</c:v>
                </c:pt>
                <c:pt idx="1">
                  <c:v>1.866240262755373</c:v>
                </c:pt>
                <c:pt idx="2">
                  <c:v>2.503119444002562</c:v>
                </c:pt>
                <c:pt idx="3">
                  <c:v>0.43677374550506914</c:v>
                </c:pt>
                <c:pt idx="4">
                  <c:v>1.6504069508332775</c:v>
                </c:pt>
                <c:pt idx="5">
                  <c:v>3.3927181039288397</c:v>
                </c:pt>
                <c:pt idx="6">
                  <c:v>2.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21915319026643</c:v>
                </c:pt>
                <c:pt idx="1">
                  <c:v>0.9606166261711413</c:v>
                </c:pt>
                <c:pt idx="2">
                  <c:v>0.9200908356026349</c:v>
                </c:pt>
                <c:pt idx="3">
                  <c:v>1.0844151240117608</c:v>
                </c:pt>
                <c:pt idx="4">
                  <c:v>1.0603436900272611</c:v>
                </c:pt>
                <c:pt idx="5">
                  <c:v>2.5281379881747643</c:v>
                </c:pt>
                <c:pt idx="6">
                  <c:v>2.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4 Blade</c:v>
                </c:pt>
                <c:pt idx="3">
                  <c:v>2 Blade</c:v>
                </c:pt>
                <c:pt idx="4">
                  <c:v>Rem Blades</c:v>
                </c:pt>
                <c:pt idx="5">
                  <c:v>1 Blade</c:v>
                </c:pt>
              </c:strCache>
            </c:strRef>
          </c:cat>
          <c:val>
            <c:numRef>
              <c:f>Sheet1!$B$2:$B$7</c:f>
              <c:numCache>
                <c:formatCode>General</c:formatCode>
                <c:ptCount val="6"/>
                <c:pt idx="0">
                  <c:v>44.856633</c:v>
                </c:pt>
                <c:pt idx="1">
                  <c:v>28.641803</c:v>
                </c:pt>
                <c:pt idx="2">
                  <c:v>6.620093</c:v>
                </c:pt>
                <c:pt idx="3">
                  <c:v>5.486285</c:v>
                </c:pt>
                <c:pt idx="4">
                  <c:v>4.259556</c:v>
                </c:pt>
                <c:pt idx="5">
                  <c:v>0.030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65</a:t>
                    </a:r>
                  </a:p>
                </c:rich>
              </c:tx>
              <c:dLblPos val="t"/>
              <c:showLegendKey val="0"/>
              <c:showVal val="1"/>
              <c:showCatName val="0"/>
              <c:showSerName val="0"/>
              <c:showPercent val="0"/>
              <c:showBubbleSize val="0"/>
            </c:dLbl>
            <c:dLbl>
              <c:idx val="1"/>
              <c:tx>
                <c:rich>
                  <a:bodyPr/>
                  <a:lstStyle/>
                  <a:p>
                    <a:r>
                      <a:t>$  2.32</a:t>
                    </a:r>
                  </a:p>
                </c:rich>
              </c:tx>
              <c:dLblPos val="t"/>
              <c:showLegendKey val="0"/>
              <c:showVal val="1"/>
              <c:showCatName val="0"/>
              <c:showSerName val="0"/>
              <c:showPercent val="0"/>
              <c:showBubbleSize val="0"/>
            </c:dLbl>
            <c:dLbl>
              <c:idx val="2"/>
              <c:tx>
                <c:rich>
                  <a:bodyPr/>
                  <a:lstStyle/>
                  <a:p>
                    <a:r>
                      <a:t>$  2.52</a:t>
                    </a:r>
                  </a:p>
                </c:rich>
              </c:tx>
              <c:dLblPos val="t"/>
              <c:showLegendKey val="0"/>
              <c:showVal val="1"/>
              <c:showCatName val="0"/>
              <c:showSerName val="0"/>
              <c:showPercent val="0"/>
              <c:showBubbleSize val="0"/>
            </c:dLbl>
            <c:dLbl>
              <c:idx val="3"/>
              <c:tx>
                <c:rich>
                  <a:bodyPr/>
                  <a:lstStyle/>
                  <a:p>
                    <a:r>
                      <a:t>$  0.66</a:t>
                    </a:r>
                  </a:p>
                </c:rich>
              </c:tx>
              <c:dLblPos val="t"/>
              <c:showLegendKey val="0"/>
              <c:showVal val="1"/>
              <c:showCatName val="0"/>
              <c:showSerName val="0"/>
              <c:showPercent val="0"/>
              <c:showBubbleSize val="0"/>
            </c:dLbl>
            <c:dLbl>
              <c:idx val="4"/>
              <c:tx>
                <c:rich>
                  <a:bodyPr/>
                  <a:lstStyle/>
                  <a:p>
                    <a:r>
                      <a:t>$  4.10</a:t>
                    </a:r>
                  </a:p>
                </c:rich>
              </c:tx>
              <c:dLblPos val="t"/>
              <c:showLegendKey val="0"/>
              <c:showVal val="1"/>
              <c:showCatName val="0"/>
              <c:showSerName val="0"/>
              <c:showPercent val="0"/>
              <c:showBubbleSize val="0"/>
            </c:dLbl>
            <c:dLbl>
              <c:idx val="5"/>
              <c:tx>
                <c:rich>
                  <a:bodyPr/>
                  <a:lstStyle/>
                  <a:p>
                    <a:r>
                      <a:t>$  0.5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4 Blade</c:v>
                </c:pt>
                <c:pt idx="3">
                  <c:v>2 Blade</c:v>
                </c:pt>
                <c:pt idx="4">
                  <c:v>Rem Blades</c:v>
                </c:pt>
                <c:pt idx="5">
                  <c:v>1 Blade</c:v>
                </c:pt>
              </c:strCache>
            </c:strRef>
          </c:cat>
          <c:val>
            <c:numRef>
              <c:f>Sheet1!$C$2:$C$7</c:f>
              <c:numCache>
                <c:formatCode>General</c:formatCode>
                <c:ptCount val="6"/>
                <c:pt idx="0">
                  <c:v>2.6464149595143636</c:v>
                </c:pt>
                <c:pt idx="1">
                  <c:v>2.3176379350789884</c:v>
                </c:pt>
                <c:pt idx="2">
                  <c:v>2.5224975423141114</c:v>
                </c:pt>
                <c:pt idx="3">
                  <c:v>0.6631795741631601</c:v>
                </c:pt>
                <c:pt idx="4">
                  <c:v>4.1040020117486895</c:v>
                </c:pt>
                <c:pt idx="5">
                  <c:v>0.51334324816603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4 Blade</c:v>
                </c:pt>
                <c:pt idx="3">
                  <c:v>2 Blade</c:v>
                </c:pt>
                <c:pt idx="4">
                  <c:v>Rem Blades</c:v>
                </c:pt>
                <c:pt idx="5">
                  <c:v>1 Blade</c:v>
                </c:pt>
              </c:strCache>
            </c:strRef>
          </c:cat>
          <c:val>
            <c:numRef>
              <c:f>Sheet1!$B$2:$B$7</c:f>
              <c:numCache>
                <c:formatCode>General</c:formatCode>
                <c:ptCount val="6"/>
                <c:pt idx="0">
                  <c:v>1.1953269865748521</c:v>
                </c:pt>
                <c:pt idx="1">
                  <c:v>1.051894118390649</c:v>
                </c:pt>
                <c:pt idx="2">
                  <c:v>0.9509288807121007</c:v>
                </c:pt>
                <c:pt idx="3">
                  <c:v>1.6023435759027755</c:v>
                </c:pt>
                <c:pt idx="4">
                  <c:v>1.3398403096171558</c:v>
                </c:pt>
                <c:pt idx="5">
                  <c:v>0.445275470713571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29.546099</c:v>
                </c:pt>
                <c:pt idx="1">
                  <c:v>27.629591</c:v>
                </c:pt>
                <c:pt idx="2">
                  <c:v>13.840344</c:v>
                </c:pt>
                <c:pt idx="3">
                  <c:v>5.480306</c:v>
                </c:pt>
                <c:pt idx="4">
                  <c:v>4.128569</c:v>
                </c:pt>
                <c:pt idx="5">
                  <c:v>0.782153</c:v>
                </c:pt>
                <c:pt idx="6">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21</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2.33</a:t>
                    </a:r>
                  </a:p>
                </c:rich>
              </c:tx>
              <c:dLblPos val="t"/>
              <c:showLegendKey val="0"/>
              <c:showVal val="1"/>
              <c:showCatName val="0"/>
              <c:showSerName val="0"/>
              <c:showPercent val="0"/>
              <c:showBubbleSize val="0"/>
            </c:dLbl>
            <c:dLbl>
              <c:idx val="5"/>
              <c:tx>
                <c:rich>
                  <a:bodyPr/>
                  <a:lstStyle/>
                  <a:p>
                    <a:r>
                      <a:t>$  14.13</a:t>
                    </a:r>
                  </a:p>
                </c:rich>
              </c:tx>
              <c:dLblPos val="t"/>
              <c:showLegendKey val="0"/>
              <c:showVal val="1"/>
              <c:showCatName val="0"/>
              <c:showSerName val="0"/>
              <c:showPercent val="0"/>
              <c:showBubbleSize val="0"/>
            </c:dLbl>
            <c:dLbl>
              <c:idx val="6"/>
              <c:tx>
                <c:rich>
                  <a:bodyPr/>
                  <a:lstStyle/>
                  <a:p>
                    <a:r>
                      <a:t>$  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C$2:$C$8</c:f>
              <c:numCache>
                <c:formatCode>General</c:formatCode>
                <c:ptCount val="7"/>
                <c:pt idx="0">
                  <c:v>5.211125908782497</c:v>
                </c:pt>
                <c:pt idx="1">
                  <c:v>3.3171293428264907</c:v>
                </c:pt>
                <c:pt idx="2">
                  <c:v>3.319477895560884</c:v>
                </c:pt>
                <c:pt idx="3">
                  <c:v>2.5273291404148095</c:v>
                </c:pt>
                <c:pt idx="4">
                  <c:v>2.3272405763410653</c:v>
                </c:pt>
                <c:pt idx="5">
                  <c:v>14.133592338272498</c:v>
                </c:pt>
                <c:pt idx="6">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0.9794193672984021</c:v>
                </c:pt>
                <c:pt idx="1">
                  <c:v>1.0478251068679865</c:v>
                </c:pt>
                <c:pt idx="2">
                  <c:v>0.8088024504702626</c:v>
                </c:pt>
                <c:pt idx="3">
                  <c:v>0.9634127518489284</c:v>
                </c:pt>
                <c:pt idx="4">
                  <c:v>1.1162421673743157</c:v>
                </c:pt>
                <c:pt idx="5">
                  <c:v>0.8169962563404056</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29.546099</c:v>
                </c:pt>
                <c:pt idx="1">
                  <c:v>27.629591</c:v>
                </c:pt>
                <c:pt idx="2">
                  <c:v>13.840344</c:v>
                </c:pt>
                <c:pt idx="3">
                  <c:v>5.480306</c:v>
                </c:pt>
                <c:pt idx="4">
                  <c:v>4.128569</c:v>
                </c:pt>
                <c:pt idx="5">
                  <c:v>0.782153</c:v>
                </c:pt>
                <c:pt idx="6">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5.21</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53</a:t>
                    </a:r>
                  </a:p>
                </c:rich>
              </c:tx>
              <c:dLblPos val="t"/>
              <c:showLegendKey val="0"/>
              <c:showVal val="1"/>
              <c:showCatName val="0"/>
              <c:showSerName val="0"/>
              <c:showPercent val="0"/>
              <c:showBubbleSize val="0"/>
            </c:dLbl>
            <c:dLbl>
              <c:idx val="4"/>
              <c:tx>
                <c:rich>
                  <a:bodyPr/>
                  <a:lstStyle/>
                  <a:p>
                    <a:r>
                      <a:t>$  2.33</a:t>
                    </a:r>
                  </a:p>
                </c:rich>
              </c:tx>
              <c:dLblPos val="t"/>
              <c:showLegendKey val="0"/>
              <c:showVal val="1"/>
              <c:showCatName val="0"/>
              <c:showSerName val="0"/>
              <c:showPercent val="0"/>
              <c:showBubbleSize val="0"/>
            </c:dLbl>
            <c:dLbl>
              <c:idx val="5"/>
              <c:tx>
                <c:rich>
                  <a:bodyPr/>
                  <a:lstStyle/>
                  <a:p>
                    <a:r>
                      <a:t>$  14.13</a:t>
                    </a:r>
                  </a:p>
                </c:rich>
              </c:tx>
              <c:dLblPos val="t"/>
              <c:showLegendKey val="0"/>
              <c:showVal val="1"/>
              <c:showCatName val="0"/>
              <c:showSerName val="0"/>
              <c:showPercent val="0"/>
              <c:showBubbleSize val="0"/>
            </c:dLbl>
            <c:dLbl>
              <c:idx val="6"/>
              <c:tx>
                <c:rich>
                  <a:bodyPr/>
                  <a:lstStyle/>
                  <a:p>
                    <a:r>
                      <a:t>$  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C$2:$C$8</c:f>
              <c:numCache>
                <c:formatCode>General</c:formatCode>
                <c:ptCount val="7"/>
                <c:pt idx="0">
                  <c:v>5.211125908782497</c:v>
                </c:pt>
                <c:pt idx="1">
                  <c:v>3.3171293428264907</c:v>
                </c:pt>
                <c:pt idx="2">
                  <c:v>3.319477895560884</c:v>
                </c:pt>
                <c:pt idx="3">
                  <c:v>2.5273291404148095</c:v>
                </c:pt>
                <c:pt idx="4">
                  <c:v>2.3272405763410653</c:v>
                </c:pt>
                <c:pt idx="5">
                  <c:v>14.133592338272498</c:v>
                </c:pt>
                <c:pt idx="6">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1 Blade</c:v>
                </c:pt>
                <c:pt idx="4">
                  <c:v>2 Blade</c:v>
                </c:pt>
                <c:pt idx="5">
                  <c:v>Rem Blades</c:v>
                </c:pt>
                <c:pt idx="6">
                  <c:v>6 Blade</c:v>
                </c:pt>
              </c:strCache>
            </c:strRef>
          </c:cat>
          <c:val>
            <c:numRef>
              <c:f>Sheet1!$B$2:$B$8</c:f>
              <c:numCache>
                <c:formatCode>General</c:formatCode>
                <c:ptCount val="7"/>
                <c:pt idx="0">
                  <c:v>0.9794193672984021</c:v>
                </c:pt>
                <c:pt idx="1">
                  <c:v>1.0478251068679865</c:v>
                </c:pt>
                <c:pt idx="2">
                  <c:v>0.8088024504702626</c:v>
                </c:pt>
                <c:pt idx="3">
                  <c:v>0.9634127518489284</c:v>
                </c:pt>
                <c:pt idx="4">
                  <c:v>1.1162421673743157</c:v>
                </c:pt>
                <c:pt idx="5">
                  <c:v>0.8169962563404056</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8.590964</c:v>
                </c:pt>
                <c:pt idx="1">
                  <c:v>14.039276</c:v>
                </c:pt>
                <c:pt idx="2">
                  <c:v>5.572568</c:v>
                </c:pt>
                <c:pt idx="3">
                  <c:v>5.48079</c:v>
                </c:pt>
                <c:pt idx="4">
                  <c:v>3.56176</c:v>
                </c:pt>
                <c:pt idx="5">
                  <c:v>0.274736</c:v>
                </c:pt>
                <c:pt idx="6">
                  <c:v>1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3</a:t>
                    </a:r>
                  </a:p>
                </c:rich>
              </c:tx>
              <c:dLblPos val="t"/>
              <c:showLegendKey val="0"/>
              <c:showVal val="1"/>
              <c:showCatName val="0"/>
              <c:showSerName val="0"/>
              <c:showPercent val="0"/>
              <c:showBubbleSize val="0"/>
            </c:dLbl>
            <c:dLbl>
              <c:idx val="1"/>
              <c:tx>
                <c:rich>
                  <a:bodyPr/>
                  <a:lstStyle/>
                  <a:p>
                    <a:r>
                      <a:t>$  1.86</a:t>
                    </a:r>
                  </a:p>
                </c:rich>
              </c:tx>
              <c:dLblPos val="t"/>
              <c:showLegendKey val="0"/>
              <c:showVal val="1"/>
              <c:showCatName val="0"/>
              <c:showSerName val="0"/>
              <c:showPercent val="0"/>
              <c:showBubbleSize val="0"/>
            </c:dLbl>
            <c:dLbl>
              <c:idx val="2"/>
              <c:tx>
                <c:rich>
                  <a:bodyPr/>
                  <a:lstStyle/>
                  <a:p>
                    <a:r>
                      <a:t>$  2.46</a:t>
                    </a:r>
                  </a:p>
                </c:rich>
              </c:tx>
              <c:dLblPos val="t"/>
              <c:showLegendKey val="0"/>
              <c:showVal val="1"/>
              <c:showCatName val="0"/>
              <c:showSerName val="0"/>
              <c:showPercent val="0"/>
              <c:showBubbleSize val="0"/>
            </c:dLbl>
            <c:dLbl>
              <c:idx val="3"/>
              <c:tx>
                <c:rich>
                  <a:bodyPr/>
                  <a:lstStyle/>
                  <a:p>
                    <a:r>
                      <a:t>$  0.42</a:t>
                    </a:r>
                  </a:p>
                </c:rich>
              </c:tx>
              <c:dLblPos val="t"/>
              <c:showLegendKey val="0"/>
              <c:showVal val="1"/>
              <c:showCatName val="0"/>
              <c:showSerName val="0"/>
              <c:showPercent val="0"/>
              <c:showBubbleSize val="0"/>
            </c:dLbl>
            <c:dLbl>
              <c:idx val="4"/>
              <c:tx>
                <c:rich>
                  <a:bodyPr/>
                  <a:lstStyle/>
                  <a:p>
                    <a:r>
                      <a:t>$  1.51</a:t>
                    </a:r>
                  </a:p>
                </c:rich>
              </c:tx>
              <c:dLblPos val="t"/>
              <c:showLegendKey val="0"/>
              <c:showVal val="1"/>
              <c:showCatName val="0"/>
              <c:showSerName val="0"/>
              <c:showPercent val="0"/>
              <c:showBubbleSize val="0"/>
            </c:dLbl>
            <c:dLbl>
              <c:idx val="5"/>
              <c:tx>
                <c:rich>
                  <a:bodyPr/>
                  <a:lstStyle/>
                  <a:p>
                    <a:r>
                      <a:t>$  3.12</a:t>
                    </a:r>
                  </a:p>
                </c:rich>
              </c:tx>
              <c:dLblPos val="t"/>
              <c:showLegendKey val="0"/>
              <c:showVal val="1"/>
              <c:showCatName val="0"/>
              <c:showSerName val="0"/>
              <c:showPercent val="0"/>
              <c:showBubbleSize val="0"/>
            </c:dLbl>
            <c:dLbl>
              <c:idx val="6"/>
              <c:tx>
                <c:rich>
                  <a:bodyPr/>
                  <a:lstStyle/>
                  <a:p>
                    <a:r>
                      <a:t>$  2.5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253427255671492</c:v>
                </c:pt>
                <c:pt idx="1">
                  <c:v>1.856831442062681</c:v>
                </c:pt>
                <c:pt idx="2">
                  <c:v>2.464171232716189</c:v>
                </c:pt>
                <c:pt idx="3">
                  <c:v>0.42055696121719266</c:v>
                </c:pt>
                <c:pt idx="4">
                  <c:v>1.513755190337154</c:v>
                </c:pt>
                <c:pt idx="5">
                  <c:v>3.1199791044437126</c:v>
                </c:pt>
                <c:pt idx="6">
                  <c:v>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0.9816629691204064</c:v>
                </c:pt>
                <c:pt idx="1">
                  <c:v>0.9364333722311176</c:v>
                </c:pt>
                <c:pt idx="2">
                  <c:v>0.8946241171664754</c:v>
                </c:pt>
                <c:pt idx="3">
                  <c:v>1.0984588318692332</c:v>
                </c:pt>
                <c:pt idx="4">
                  <c:v>1.0220308104802807</c:v>
                </c:pt>
                <c:pt idx="5">
                  <c:v>1.2118763315880248</c:v>
                </c:pt>
                <c:pt idx="6">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528777</c:v>
                </c:pt>
                <c:pt idx="1">
                  <c:v>4.647249</c:v>
                </c:pt>
                <c:pt idx="2">
                  <c:v>3.20233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38414</c:v>
                </c:pt>
                <c:pt idx="1">
                  <c:v>4.404666</c:v>
                </c:pt>
                <c:pt idx="2">
                  <c:v>5.2168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156364</c:v>
                </c:pt>
                <c:pt idx="1">
                  <c:v>3.947238</c:v>
                </c:pt>
                <c:pt idx="2">
                  <c:v>2.89348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4277</c:v>
                </c:pt>
                <c:pt idx="1">
                  <c:v>0.817193</c:v>
                </c:pt>
                <c:pt idx="2">
                  <c:v>0.64641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3842</c:v>
                </c:pt>
                <c:pt idx="1">
                  <c:v>0.215445</c:v>
                </c:pt>
                <c:pt idx="2">
                  <c:v>0.1834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6.439955</c:v>
                </c:pt>
                <c:pt idx="1">
                  <c:v>5.257737</c:v>
                </c:pt>
                <c:pt idx="2">
                  <c:v>2.167254</c:v>
                </c:pt>
                <c:pt idx="3">
                  <c:v>1.969493</c:v>
                </c:pt>
                <c:pt idx="4">
                  <c:v>1.342872</c:v>
                </c:pt>
                <c:pt idx="5">
                  <c:v>0.04982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6</a:t>
                    </a:r>
                  </a:p>
                </c:rich>
              </c:tx>
              <c:dLblPos val="t"/>
              <c:showLegendKey val="0"/>
              <c:showVal val="1"/>
              <c:showCatName val="0"/>
              <c:showSerName val="0"/>
              <c:showPercent val="0"/>
              <c:showBubbleSize val="0"/>
            </c:dLbl>
            <c:dLbl>
              <c:idx val="1"/>
              <c:tx>
                <c:rich>
                  <a:bodyPr/>
                  <a:lstStyle/>
                  <a:p>
                    <a:r>
                      <a:t>$  1.88</a:t>
                    </a:r>
                  </a:p>
                </c:rich>
              </c:tx>
              <c:dLblPos val="t"/>
              <c:showLegendKey val="0"/>
              <c:showVal val="1"/>
              <c:showCatName val="0"/>
              <c:showSerName val="0"/>
              <c:showPercent val="0"/>
              <c:showBubbleSize val="0"/>
            </c:dLbl>
            <c:dLbl>
              <c:idx val="2"/>
              <c:tx>
                <c:rich>
                  <a:bodyPr/>
                  <a:lstStyle/>
                  <a:p>
                    <a:r>
                      <a:t>$  0.40</a:t>
                    </a:r>
                  </a:p>
                </c:rich>
              </c:tx>
              <c:dLblPos val="t"/>
              <c:showLegendKey val="0"/>
              <c:showVal val="1"/>
              <c:showCatName val="0"/>
              <c:showSerName val="0"/>
              <c:showPercent val="0"/>
              <c:showBubbleSize val="0"/>
            </c:dLbl>
            <c:dLbl>
              <c:idx val="3"/>
              <c:tx>
                <c:rich>
                  <a:bodyPr/>
                  <a:lstStyle/>
                  <a:p>
                    <a:r>
                      <a:t>$  2.25</a:t>
                    </a:r>
                  </a:p>
                </c:rich>
              </c:tx>
              <c:dLblPos val="t"/>
              <c:showLegendKey val="0"/>
              <c:showVal val="1"/>
              <c:showCatName val="0"/>
              <c:showSerName val="0"/>
              <c:showPercent val="0"/>
              <c:showBubbleSize val="0"/>
            </c:dLbl>
            <c:dLbl>
              <c:idx val="4"/>
              <c:tx>
                <c:rich>
                  <a:bodyPr/>
                  <a:lstStyle/>
                  <a:p>
                    <a:r>
                      <a:t>$  1.44</a:t>
                    </a:r>
                  </a:p>
                </c:rich>
              </c:tx>
              <c:dLblPos val="t"/>
              <c:showLegendKey val="0"/>
              <c:showVal val="1"/>
              <c:showCatName val="0"/>
              <c:showSerName val="0"/>
              <c:showPercent val="0"/>
              <c:showBubbleSize val="0"/>
            </c:dLbl>
            <c:dLbl>
              <c:idx val="5"/>
              <c:tx>
                <c:rich>
                  <a:bodyPr/>
                  <a:lstStyle/>
                  <a:p>
                    <a:r>
                      <a:t>$  2.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C$2:$C$7</c:f>
              <c:numCache>
                <c:formatCode>General</c:formatCode>
                <c:ptCount val="6"/>
                <c:pt idx="0">
                  <c:v>3.0586388866856615</c:v>
                </c:pt>
                <c:pt idx="1">
                  <c:v>1.8781536019272578</c:v>
                </c:pt>
                <c:pt idx="2">
                  <c:v>0.400541064416162</c:v>
                </c:pt>
                <c:pt idx="3">
                  <c:v>2.253298156053036</c:v>
                </c:pt>
                <c:pt idx="4">
                  <c:v>1.442316863075317</c:v>
                </c:pt>
                <c:pt idx="5">
                  <c:v>2.628211214854671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Blade</c:v>
                </c:pt>
                <c:pt idx="1">
                  <c:v>3 Blade</c:v>
                </c:pt>
                <c:pt idx="2">
                  <c:v>2 Blade</c:v>
                </c:pt>
                <c:pt idx="3">
                  <c:v>4 Blade</c:v>
                </c:pt>
                <c:pt idx="4">
                  <c:v>1 Blade</c:v>
                </c:pt>
                <c:pt idx="5">
                  <c:v>Rem Blades</c:v>
                </c:pt>
              </c:strCache>
            </c:strRef>
          </c:cat>
          <c:val>
            <c:numRef>
              <c:f>Sheet1!$B$2:$B$7</c:f>
              <c:numCache>
                <c:formatCode>General</c:formatCode>
                <c:ptCount val="6"/>
                <c:pt idx="0">
                  <c:v>0.9834221957191821</c:v>
                </c:pt>
                <c:pt idx="1">
                  <c:v>0.9926976993674775</c:v>
                </c:pt>
                <c:pt idx="2">
                  <c:v>1.120966390466437</c:v>
                </c:pt>
                <c:pt idx="3">
                  <c:v>0.8894358847445962</c:v>
                </c:pt>
                <c:pt idx="4">
                  <c:v>1.108971135098442</c:v>
                </c:pt>
                <c:pt idx="5">
                  <c:v>1.239655644298474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1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39.527367</c:v>
                </c:pt>
                <c:pt idx="1">
                  <c:v>79.616315</c:v>
                </c:pt>
                <c:pt idx="2">
                  <c:v>38.121531</c:v>
                </c:pt>
                <c:pt idx="3">
                  <c:v>29.70118</c:v>
                </c:pt>
                <c:pt idx="4">
                  <c:v>23.476875</c:v>
                </c:pt>
                <c:pt idx="5">
                  <c:v>4.154806</c:v>
                </c:pt>
                <c:pt idx="6">
                  <c:v>2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0</a:t>
                    </a:r>
                  </a:p>
                </c:rich>
              </c:tx>
              <c:dLblPos val="t"/>
              <c:showLegendKey val="0"/>
              <c:showVal val="1"/>
              <c:showCatName val="0"/>
              <c:showSerName val="0"/>
              <c:showPercent val="0"/>
              <c:showBubbleSize val="0"/>
            </c:dLbl>
            <c:dLbl>
              <c:idx val="1"/>
              <c:tx>
                <c:rich>
                  <a:bodyPr/>
                  <a:lstStyle/>
                  <a:p>
                    <a:r>
                      <a:t>$  1.87</a:t>
                    </a:r>
                  </a:p>
                </c:rich>
              </c:tx>
              <c:dLblPos val="t"/>
              <c:showLegendKey val="0"/>
              <c:showVal val="1"/>
              <c:showCatName val="0"/>
              <c:showSerName val="0"/>
              <c:showPercent val="0"/>
              <c:showBubbleSize val="0"/>
            </c:dLbl>
            <c:dLbl>
              <c:idx val="2"/>
              <c:tx>
                <c:rich>
                  <a:bodyPr/>
                  <a:lstStyle/>
                  <a:p>
                    <a:r>
                      <a:t>$  2.52</a:t>
                    </a:r>
                  </a:p>
                </c:rich>
              </c:tx>
              <c:dLblPos val="t"/>
              <c:showLegendKey val="0"/>
              <c:showVal val="1"/>
              <c:showCatName val="0"/>
              <c:showSerName val="0"/>
              <c:showPercent val="0"/>
              <c:showBubbleSize val="0"/>
            </c:dLbl>
            <c:dLbl>
              <c:idx val="3"/>
              <c:tx>
                <c:rich>
                  <a:bodyPr/>
                  <a:lstStyle/>
                  <a:p>
                    <a:r>
                      <a:t>$  0.44</a:t>
                    </a:r>
                  </a:p>
                </c:rich>
              </c:tx>
              <c:dLblPos val="t"/>
              <c:showLegendKey val="0"/>
              <c:showVal val="1"/>
              <c:showCatName val="0"/>
              <c:showSerName val="0"/>
              <c:showPercent val="0"/>
              <c:showBubbleSize val="0"/>
            </c:dLbl>
            <c:dLbl>
              <c:idx val="4"/>
              <c:tx>
                <c:rich>
                  <a:bodyPr/>
                  <a:lstStyle/>
                  <a:p>
                    <a:r>
                      <a:t>$  1.69</a:t>
                    </a:r>
                  </a:p>
                </c:rich>
              </c:tx>
              <c:dLblPos val="t"/>
              <c:showLegendKey val="0"/>
              <c:showVal val="1"/>
              <c:showCatName val="0"/>
              <c:showSerName val="0"/>
              <c:showPercent val="0"/>
              <c:showBubbleSize val="0"/>
            </c:dLbl>
            <c:dLbl>
              <c:idx val="5"/>
              <c:tx>
                <c:rich>
                  <a:bodyPr/>
                  <a:lstStyle/>
                  <a:p>
                    <a:r>
                      <a:t>$  3.42</a:t>
                    </a:r>
                  </a:p>
                </c:rich>
              </c:tx>
              <c:dLblPos val="t"/>
              <c:showLegendKey val="0"/>
              <c:showVal val="1"/>
              <c:showCatName val="0"/>
              <c:showSerName val="0"/>
              <c:showPercent val="0"/>
              <c:showBubbleSize val="0"/>
            </c:dLbl>
            <c:dLbl>
              <c:idx val="6"/>
              <c:tx>
                <c:rich>
                  <a:bodyPr/>
                  <a:lstStyle/>
                  <a:p>
                    <a:r>
                      <a:t>$  1.8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03553076817497</c:v>
                </c:pt>
                <c:pt idx="1">
                  <c:v>1.8671264625621473</c:v>
                </c:pt>
                <c:pt idx="2">
                  <c:v>2.523403495077972</c:v>
                </c:pt>
                <c:pt idx="3">
                  <c:v>0.4428479622743118</c:v>
                </c:pt>
                <c:pt idx="4">
                  <c:v>1.687443262230381</c:v>
                </c:pt>
                <c:pt idx="5">
                  <c:v>3.4244581191058243</c:v>
                </c:pt>
                <c:pt idx="6">
                  <c:v>1.81818181818181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1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293991786843462</c:v>
                </c:pt>
                <c:pt idx="1">
                  <c:v>0.9629466685244342</c:v>
                </c:pt>
                <c:pt idx="2">
                  <c:v>0.9255905131073965</c:v>
                </c:pt>
                <c:pt idx="3">
                  <c:v>1.0793008603139653</c:v>
                </c:pt>
                <c:pt idx="4">
                  <c:v>1.0637254066844557</c:v>
                </c:pt>
                <c:pt idx="5">
                  <c:v>2.7608335382182325</c:v>
                </c:pt>
                <c:pt idx="6">
                  <c:v>1.66666666666666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0.4</a:t>
                    </a:r>
                  </a:p>
                </c:rich>
              </c:tx>
              <c:showLegendKey val="0"/>
              <c:showVal val="1"/>
              <c:showCatName val="0"/>
              <c:showSerName val="0"/>
              <c:showPercent val="0"/>
              <c:showBubbleSize val="0"/>
            </c:dLbl>
            <c:dLbl>
              <c:idx val="1"/>
              <c:tx>
                <c:rich>
                  <a:bodyPr/>
                  <a:lstStyle/>
                  <a:p>
                    <a:r>
                      <a:rPr>
                        <a:solidFill>
                          <a:srgbClr val="FFFFFF"/>
                        </a:solidFill>
                      </a:rPr>
                      <a:t>11.5</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363025</c:v>
                </c:pt>
                <c:pt idx="1">
                  <c:v>11.535505</c:v>
                </c:pt>
                <c:pt idx="2">
                  <c:v>7.79264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tx>
                <c:rich>
                  <a:bodyPr/>
                  <a:lstStyle/>
                  <a:p>
                    <a:r>
                      <a:rPr>
                        <a:solidFill>
                          <a:srgbClr val="FFFFFF"/>
                        </a:solidFill>
                      </a:rPr>
                      <a:t>8.5</a:t>
                    </a:r>
                  </a:p>
                </c:rich>
              </c:tx>
              <c:showLegendKey val="0"/>
              <c:showVal val="1"/>
              <c:showCatName val="0"/>
              <c:showSerName val="0"/>
              <c:showPercent val="0"/>
              <c:showBubbleSize val="0"/>
            </c:dLbl>
            <c:dLbl>
              <c:idx val="1"/>
              <c:tx>
                <c:rich>
                  <a:bodyPr/>
                  <a:lstStyle/>
                  <a:p>
                    <a:r>
                      <a:rPr>
                        <a:solidFill>
                          <a:srgbClr val="FFFFFF"/>
                        </a:solidFill>
                      </a:rPr>
                      <a:t>8.5</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514741</c:v>
                </c:pt>
                <c:pt idx="1">
                  <c:v>8.523515</c:v>
                </c:pt>
                <c:pt idx="2">
                  <c:v>6.88671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49599</c:v>
                </c:pt>
                <c:pt idx="1">
                  <c:v>2.998539</c:v>
                </c:pt>
                <c:pt idx="2">
                  <c:v>2.21335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66596</c:v>
                </c:pt>
                <c:pt idx="1">
                  <c:v>1.716804</c:v>
                </c:pt>
                <c:pt idx="2">
                  <c:v>2.3830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18356</c:v>
                </c:pt>
                <c:pt idx="1">
                  <c:v>0.369206</c:v>
                </c:pt>
                <c:pt idx="2">
                  <c:v>0.19062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047097</c:v>
                </c:pt>
                <c:pt idx="1">
                  <c:v>2.114449</c:v>
                </c:pt>
                <c:pt idx="2">
                  <c:v>1.82723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9.5</a:t>
                    </a:r>
                  </a:p>
                </c:rich>
              </c:tx>
              <c:showLegendKey val="0"/>
              <c:showVal val="1"/>
              <c:showCatName val="0"/>
              <c:showSerName val="0"/>
              <c:showPercent val="0"/>
              <c:showBubbleSize val="0"/>
            </c:dLbl>
            <c:dLbl>
              <c:idx val="1"/>
              <c:tx>
                <c:rich>
                  <a:bodyPr/>
                  <a:lstStyle/>
                  <a:p>
                    <a:r>
                      <a:rPr>
                        <a:solidFill>
                          <a:srgbClr val="FFFFFF"/>
                        </a:solidFill>
                      </a:rPr>
                      <a:t>21.1</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9.547355</c:v>
                </c:pt>
                <c:pt idx="1">
                  <c:v>21.061979</c:v>
                </c:pt>
                <c:pt idx="2">
                  <c:v>14.9023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8.0</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1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004079</c:v>
                </c:pt>
                <c:pt idx="1">
                  <c:v>10.334761</c:v>
                </c:pt>
                <c:pt idx="2">
                  <c:v>10.262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340934</c:v>
                </c:pt>
                <c:pt idx="1">
                  <c:v>5.870091</c:v>
                </c:pt>
                <c:pt idx="2">
                  <c:v>4.2038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56509</c:v>
                </c:pt>
                <c:pt idx="1">
                  <c:v>2.123403</c:v>
                </c:pt>
                <c:pt idx="2">
                  <c:v>1.77283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c</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60142</c:v>
                </c:pt>
                <c:pt idx="1">
                  <c:v>0.492444</c:v>
                </c:pt>
                <c:pt idx="2">
                  <c:v>0.5330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39.527367</c:v>
                </c:pt>
                <c:pt idx="1">
                  <c:v>79.616315</c:v>
                </c:pt>
                <c:pt idx="2">
                  <c:v>38.121531</c:v>
                </c:pt>
                <c:pt idx="3">
                  <c:v>29.70118</c:v>
                </c:pt>
                <c:pt idx="4">
                  <c:v>23.476875</c:v>
                </c:pt>
                <c:pt idx="5">
                  <c:v>4.154806</c:v>
                </c:pt>
                <c:pt idx="6">
                  <c:v>2e-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0</a:t>
                    </a:r>
                  </a:p>
                </c:rich>
              </c:tx>
              <c:dLblPos val="t"/>
              <c:showLegendKey val="0"/>
              <c:showVal val="1"/>
              <c:showCatName val="0"/>
              <c:showSerName val="0"/>
              <c:showPercent val="0"/>
              <c:showBubbleSize val="0"/>
            </c:dLbl>
            <c:dLbl>
              <c:idx val="1"/>
              <c:tx>
                <c:rich>
                  <a:bodyPr/>
                  <a:lstStyle/>
                  <a:p>
                    <a:r>
                      <a:t>$  1.87</a:t>
                    </a:r>
                  </a:p>
                </c:rich>
              </c:tx>
              <c:dLblPos val="t"/>
              <c:showLegendKey val="0"/>
              <c:showVal val="1"/>
              <c:showCatName val="0"/>
              <c:showSerName val="0"/>
              <c:showPercent val="0"/>
              <c:showBubbleSize val="0"/>
            </c:dLbl>
            <c:dLbl>
              <c:idx val="2"/>
              <c:tx>
                <c:rich>
                  <a:bodyPr/>
                  <a:lstStyle/>
                  <a:p>
                    <a:r>
                      <a:t>$  2.52</a:t>
                    </a:r>
                  </a:p>
                </c:rich>
              </c:tx>
              <c:dLblPos val="t"/>
              <c:showLegendKey val="0"/>
              <c:showVal val="1"/>
              <c:showCatName val="0"/>
              <c:showSerName val="0"/>
              <c:showPercent val="0"/>
              <c:showBubbleSize val="0"/>
            </c:dLbl>
            <c:dLbl>
              <c:idx val="3"/>
              <c:tx>
                <c:rich>
                  <a:bodyPr/>
                  <a:lstStyle/>
                  <a:p>
                    <a:r>
                      <a:t>$  0.44</a:t>
                    </a:r>
                  </a:p>
                </c:rich>
              </c:tx>
              <c:dLblPos val="t"/>
              <c:showLegendKey val="0"/>
              <c:showVal val="1"/>
              <c:showCatName val="0"/>
              <c:showSerName val="0"/>
              <c:showPercent val="0"/>
              <c:showBubbleSize val="0"/>
            </c:dLbl>
            <c:dLbl>
              <c:idx val="4"/>
              <c:tx>
                <c:rich>
                  <a:bodyPr/>
                  <a:lstStyle/>
                  <a:p>
                    <a:r>
                      <a:t>$  1.69</a:t>
                    </a:r>
                  </a:p>
                </c:rich>
              </c:tx>
              <c:dLblPos val="t"/>
              <c:showLegendKey val="0"/>
              <c:showVal val="1"/>
              <c:showCatName val="0"/>
              <c:showSerName val="0"/>
              <c:showPercent val="0"/>
              <c:showBubbleSize val="0"/>
            </c:dLbl>
            <c:dLbl>
              <c:idx val="5"/>
              <c:tx>
                <c:rich>
                  <a:bodyPr/>
                  <a:lstStyle/>
                  <a:p>
                    <a:r>
                      <a:t>$  3.42</a:t>
                    </a:r>
                  </a:p>
                </c:rich>
              </c:tx>
              <c:dLblPos val="t"/>
              <c:showLegendKey val="0"/>
              <c:showVal val="1"/>
              <c:showCatName val="0"/>
              <c:showSerName val="0"/>
              <c:showPercent val="0"/>
              <c:showBubbleSize val="0"/>
            </c:dLbl>
            <c:dLbl>
              <c:idx val="6"/>
              <c:tx>
                <c:rich>
                  <a:bodyPr/>
                  <a:lstStyle/>
                  <a:p>
                    <a:r>
                      <a:t>$  1.8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C$2:$C$8</c:f>
              <c:numCache>
                <c:formatCode>General</c:formatCode>
                <c:ptCount val="7"/>
                <c:pt idx="0">
                  <c:v>3.003553076817497</c:v>
                </c:pt>
                <c:pt idx="1">
                  <c:v>1.8671264625621473</c:v>
                </c:pt>
                <c:pt idx="2">
                  <c:v>2.523403495077972</c:v>
                </c:pt>
                <c:pt idx="3">
                  <c:v>0.4428479622743118</c:v>
                </c:pt>
                <c:pt idx="4">
                  <c:v>1.687443262230381</c:v>
                </c:pt>
                <c:pt idx="5">
                  <c:v>3.4244581191058243</c:v>
                </c:pt>
                <c:pt idx="6">
                  <c:v>1.81818181818181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3 Blade</c:v>
                </c:pt>
                <c:pt idx="2">
                  <c:v>4 Blade</c:v>
                </c:pt>
                <c:pt idx="3">
                  <c:v>2 Blade</c:v>
                </c:pt>
                <c:pt idx="4">
                  <c:v>1 Blade</c:v>
                </c:pt>
                <c:pt idx="5">
                  <c:v>Rem Blades</c:v>
                </c:pt>
                <c:pt idx="6">
                  <c:v>6 Blade</c:v>
                </c:pt>
              </c:strCache>
            </c:strRef>
          </c:cat>
          <c:val>
            <c:numRef>
              <c:f>Sheet1!$B$2:$B$8</c:f>
              <c:numCache>
                <c:formatCode>General</c:formatCode>
                <c:ptCount val="7"/>
                <c:pt idx="0">
                  <c:v>1.0293991786843462</c:v>
                </c:pt>
                <c:pt idx="1">
                  <c:v>0.9629466685244342</c:v>
                </c:pt>
                <c:pt idx="2">
                  <c:v>0.9255905131073965</c:v>
                </c:pt>
                <c:pt idx="3">
                  <c:v>1.0793008603139653</c:v>
                </c:pt>
                <c:pt idx="4">
                  <c:v>1.0637254066844557</c:v>
                </c:pt>
                <c:pt idx="5">
                  <c:v>2.7608335382182325</c:v>
                </c:pt>
                <c:pt idx="6">
                  <c:v>1.66666666666666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B$2:$B$8</c:f>
              <c:numCache>
                <c:formatCode>General</c:formatCode>
                <c:ptCount val="7"/>
                <c:pt idx="0">
                  <c:v>16.410563</c:v>
                </c:pt>
                <c:pt idx="1">
                  <c:v>6.8156</c:v>
                </c:pt>
                <c:pt idx="2">
                  <c:v>2.624776</c:v>
                </c:pt>
                <c:pt idx="3">
                  <c:v>1.877162</c:v>
                </c:pt>
                <c:pt idx="4">
                  <c:v>1.796495</c:v>
                </c:pt>
                <c:pt idx="5">
                  <c:v>0.612178</c:v>
                </c:pt>
                <c:pt idx="6">
                  <c:v>0.1196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90</a:t>
                    </a:r>
                  </a:p>
                </c:rich>
              </c:tx>
              <c:dLblPos val="t"/>
              <c:showLegendKey val="0"/>
              <c:showVal val="1"/>
              <c:showCatName val="0"/>
              <c:showSerName val="0"/>
              <c:showPercent val="0"/>
              <c:showBubbleSize val="0"/>
            </c:dLbl>
            <c:dLbl>
              <c:idx val="1"/>
              <c:tx>
                <c:rich>
                  <a:bodyPr/>
                  <a:lstStyle/>
                  <a:p>
                    <a:r>
                      <a:t>$  2.28</a:t>
                    </a:r>
                  </a:p>
                </c:rich>
              </c:tx>
              <c:dLblPos val="t"/>
              <c:showLegendKey val="0"/>
              <c:showVal val="1"/>
              <c:showCatName val="0"/>
              <c:showSerName val="0"/>
              <c:showPercent val="0"/>
              <c:showBubbleSize val="0"/>
            </c:dLbl>
            <c:dLbl>
              <c:idx val="2"/>
              <c:tx>
                <c:rich>
                  <a:bodyPr/>
                  <a:lstStyle/>
                  <a:p>
                    <a:r>
                      <a:t>$  1.77</a:t>
                    </a:r>
                  </a:p>
                </c:rich>
              </c:tx>
              <c:dLblPos val="t"/>
              <c:showLegendKey val="0"/>
              <c:showVal val="1"/>
              <c:showCatName val="0"/>
              <c:showSerName val="0"/>
              <c:showPercent val="0"/>
              <c:showBubbleSize val="0"/>
            </c:dLbl>
            <c:dLbl>
              <c:idx val="3"/>
              <c:tx>
                <c:rich>
                  <a:bodyPr/>
                  <a:lstStyle/>
                  <a:p>
                    <a:r>
                      <a:t>$  2.74</a:t>
                    </a:r>
                  </a:p>
                </c:rich>
              </c:tx>
              <c:dLblPos val="t"/>
              <c:showLegendKey val="0"/>
              <c:showVal val="1"/>
              <c:showCatName val="0"/>
              <c:showSerName val="0"/>
              <c:showPercent val="0"/>
              <c:showBubbleSize val="0"/>
            </c:dLbl>
            <c:dLbl>
              <c:idx val="4"/>
              <c:tx>
                <c:rich>
                  <a:bodyPr/>
                  <a:lstStyle/>
                  <a:p>
                    <a:r>
                      <a:t>$  2.90</a:t>
                    </a:r>
                  </a:p>
                </c:rich>
              </c:tx>
              <c:dLblPos val="t"/>
              <c:showLegendKey val="0"/>
              <c:showVal val="1"/>
              <c:showCatName val="0"/>
              <c:showSerName val="0"/>
              <c:showPercent val="0"/>
              <c:showBubbleSize val="0"/>
            </c:dLbl>
            <c:dLbl>
              <c:idx val="5"/>
              <c:tx>
                <c:rich>
                  <a:bodyPr/>
                  <a:lstStyle/>
                  <a:p>
                    <a:r>
                      <a:t>$  1.73</a:t>
                    </a:r>
                  </a:p>
                </c:rich>
              </c:tx>
              <c:dLblPos val="t"/>
              <c:showLegendKey val="0"/>
              <c:showVal val="1"/>
              <c:showCatName val="0"/>
              <c:showSerName val="0"/>
              <c:showPercent val="0"/>
              <c:showBubbleSize val="0"/>
            </c:dLbl>
            <c:dLbl>
              <c:idx val="6"/>
              <c:tx>
                <c:rich>
                  <a:bodyPr/>
                  <a:lstStyle/>
                  <a:p>
                    <a:r>
                      <a:t>$  2.5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C$2:$C$8</c:f>
              <c:numCache>
                <c:formatCode>General</c:formatCode>
                <c:ptCount val="7"/>
                <c:pt idx="0">
                  <c:v>2.9034575968192926</c:v>
                </c:pt>
                <c:pt idx="1">
                  <c:v>2.2751967963776316</c:v>
                </c:pt>
                <c:pt idx="2">
                  <c:v>1.7689446552757127</c:v>
                </c:pt>
                <c:pt idx="3">
                  <c:v>2.7422680412371134</c:v>
                </c:pt>
                <c:pt idx="4">
                  <c:v>2.901770787736451</c:v>
                </c:pt>
                <c:pt idx="5">
                  <c:v>1.7280325633780553</c:v>
                </c:pt>
                <c:pt idx="6">
                  <c:v>2.52971155472847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Blade</c:v>
                </c:pt>
                <c:pt idx="1">
                  <c:v>4 Blade</c:v>
                </c:pt>
                <c:pt idx="2">
                  <c:v>3 Blade</c:v>
                </c:pt>
                <c:pt idx="3">
                  <c:v>2 Blade</c:v>
                </c:pt>
                <c:pt idx="4">
                  <c:v>Rem Blades</c:v>
                </c:pt>
                <c:pt idx="5">
                  <c:v>6 Blade</c:v>
                </c:pt>
                <c:pt idx="6">
                  <c:v>1 Blade</c:v>
                </c:pt>
              </c:strCache>
            </c:strRef>
          </c:cat>
          <c:val>
            <c:numRef>
              <c:f>Sheet1!$B$2:$B$8</c:f>
              <c:numCache>
                <c:formatCode>General</c:formatCode>
                <c:ptCount val="7"/>
                <c:pt idx="0">
                  <c:v>1.1702180246042555</c:v>
                </c:pt>
                <c:pt idx="1">
                  <c:v>1.2489346508265973</c:v>
                </c:pt>
                <c:pt idx="2">
                  <c:v>1.144053660477789</c:v>
                </c:pt>
                <c:pt idx="3">
                  <c:v>0.7514816161105035</c:v>
                </c:pt>
                <c:pt idx="4">
                  <c:v>1.8292737564416783</c:v>
                </c:pt>
                <c:pt idx="5">
                  <c:v>0.8479506891058938</c:v>
                </c:pt>
                <c:pt idx="6">
                  <c:v>2.27031181795752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96742</c:v>
                </c:pt>
                <c:pt idx="1">
                  <c:v>0.661053</c:v>
                </c:pt>
                <c:pt idx="2">
                  <c:v>0.7159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64381</c:v>
                </c:pt>
                <c:pt idx="1">
                  <c:v>0.01581</c:v>
                </c:pt>
                <c:pt idx="2">
                  <c:v>0.03925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4243</c:v>
                </c:pt>
                <c:pt idx="2">
                  <c:v>0.005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09555</c:v>
                </c:pt>
                <c:pt idx="1">
                  <c:v>2.996827</c:v>
                </c:pt>
                <c:pt idx="2">
                  <c:v>2.8012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2753</c:v>
                </c:pt>
                <c:pt idx="1">
                  <c:v>0.072068</c:v>
                </c:pt>
                <c:pt idx="2">
                  <c:v>0.1833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55784</c:v>
                </c:pt>
                <c:pt idx="2">
                  <c:v>0.081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31.018165</c:v>
                </c:pt>
                <c:pt idx="1">
                  <c:v>10.87827</c:v>
                </c:pt>
                <c:pt idx="2">
                  <c:v>4.840828</c:v>
                </c:pt>
                <c:pt idx="3">
                  <c:v>0.78284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9</a:t>
                    </a:r>
                  </a:p>
                </c:rich>
              </c:tx>
              <c:dLblPos val="t"/>
              <c:showLegendKey val="0"/>
              <c:showVal val="1"/>
              <c:showCatName val="0"/>
              <c:showSerName val="0"/>
              <c:showPercent val="0"/>
              <c:showBubbleSize val="0"/>
            </c:dLbl>
            <c:dLbl>
              <c:idx val="1"/>
              <c:tx>
                <c:rich>
                  <a:bodyPr/>
                  <a:lstStyle/>
                  <a:p>
                    <a:r>
                      <a:t>$  2.41</a:t>
                    </a:r>
                  </a:p>
                </c:rich>
              </c:tx>
              <c:dLblPos val="t"/>
              <c:showLegendKey val="0"/>
              <c:showVal val="1"/>
              <c:showCatName val="0"/>
              <c:showSerName val="0"/>
              <c:showPercent val="0"/>
              <c:showBubbleSize val="0"/>
            </c:dLbl>
            <c:dLbl>
              <c:idx val="2"/>
              <c:tx>
                <c:rich>
                  <a:bodyPr/>
                  <a:lstStyle/>
                  <a:p>
                    <a:r>
                      <a:t>$  1.85</a:t>
                    </a:r>
                  </a:p>
                </c:rich>
              </c:tx>
              <c:dLblPos val="t"/>
              <c:showLegendKey val="0"/>
              <c:showVal val="1"/>
              <c:showCatName val="0"/>
              <c:showSerName val="0"/>
              <c:showPercent val="0"/>
              <c:showBubbleSize val="0"/>
            </c:dLbl>
            <c:dLbl>
              <c:idx val="3"/>
              <c:tx>
                <c:rich>
                  <a:bodyPr/>
                  <a:lstStyle/>
                  <a:p>
                    <a:r>
                      <a:t>$  4.6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2850273525677376</c:v>
                </c:pt>
                <c:pt idx="1">
                  <c:v>2.4057042835201847</c:v>
                </c:pt>
                <c:pt idx="2">
                  <c:v>1.853232974707314</c:v>
                </c:pt>
                <c:pt idx="3">
                  <c:v>4.6459130806345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797742045947053</c:v>
                </c:pt>
                <c:pt idx="1">
                  <c:v>0.947346255345019</c:v>
                </c:pt>
                <c:pt idx="2">
                  <c:v>1.0254796580906886</c:v>
                </c:pt>
                <c:pt idx="3">
                  <c:v>0.78381135846177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1.065405</c:v>
                </c:pt>
                <c:pt idx="1">
                  <c:v>4.081735</c:v>
                </c:pt>
                <c:pt idx="2">
                  <c:v>1.818307</c:v>
                </c:pt>
                <c:pt idx="3">
                  <c:v>0.26168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0</a:t>
                    </a:r>
                  </a:p>
                </c:rich>
              </c:tx>
              <c:dLblPos val="t"/>
              <c:showLegendKey val="0"/>
              <c:showVal val="1"/>
              <c:showCatName val="0"/>
              <c:showSerName val="0"/>
              <c:showPercent val="0"/>
              <c:showBubbleSize val="0"/>
            </c:dLbl>
            <c:dLbl>
              <c:idx val="1"/>
              <c:tx>
                <c:rich>
                  <a:bodyPr/>
                  <a:lstStyle/>
                  <a:p>
                    <a:r>
                      <a:t>$  2.25</a:t>
                    </a:r>
                  </a:p>
                </c:rich>
              </c:tx>
              <c:dLblPos val="t"/>
              <c:showLegendKey val="0"/>
              <c:showVal val="1"/>
              <c:showCatName val="0"/>
              <c:showSerName val="0"/>
              <c:showPercent val="0"/>
              <c:showBubbleSize val="0"/>
            </c:dLbl>
            <c:dLbl>
              <c:idx val="2"/>
              <c:tx>
                <c:rich>
                  <a:bodyPr/>
                  <a:lstStyle/>
                  <a:p>
                    <a:r>
                      <a:t>$  1.74</a:t>
                    </a:r>
                  </a:p>
                </c:rich>
              </c:tx>
              <c:dLblPos val="t"/>
              <c:showLegendKey val="0"/>
              <c:showVal val="1"/>
              <c:showCatName val="0"/>
              <c:showSerName val="0"/>
              <c:showPercent val="0"/>
              <c:showBubbleSize val="0"/>
            </c:dLbl>
            <c:dLbl>
              <c:idx val="3"/>
              <c:tx>
                <c:rich>
                  <a:bodyPr/>
                  <a:lstStyle/>
                  <a:p>
                    <a:r>
                      <a:t>$  4.48</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200332435982534</c:v>
                </c:pt>
                <c:pt idx="1">
                  <c:v>2.2480190868220187</c:v>
                </c:pt>
                <c:pt idx="2">
                  <c:v>1.7365269975761488</c:v>
                </c:pt>
                <c:pt idx="3">
                  <c:v>4.4828608137044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0062050526285542</c:v>
                </c:pt>
                <c:pt idx="1">
                  <c:v>0.9609592606395715</c:v>
                </c:pt>
                <c:pt idx="2">
                  <c:v>1.0934672454209018</c:v>
                </c:pt>
                <c:pt idx="3">
                  <c:v>0.77854998646320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5.170335</c:v>
                </c:pt>
                <c:pt idx="1">
                  <c:v>8.95184</c:v>
                </c:pt>
                <c:pt idx="2">
                  <c:v>5.259488</c:v>
                </c:pt>
                <c:pt idx="3">
                  <c:v>0.87473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60</a:t>
                    </a:r>
                  </a:p>
                </c:rich>
              </c:tx>
              <c:dLblPos val="t"/>
              <c:showLegendKey val="0"/>
              <c:showVal val="1"/>
              <c:showCatName val="0"/>
              <c:showSerName val="0"/>
              <c:showPercent val="0"/>
              <c:showBubbleSize val="0"/>
            </c:dLbl>
            <c:dLbl>
              <c:idx val="1"/>
              <c:tx>
                <c:rich>
                  <a:bodyPr/>
                  <a:lstStyle/>
                  <a:p>
                    <a:r>
                      <a:t>$  2.28</a:t>
                    </a:r>
                  </a:p>
                </c:rich>
              </c:tx>
              <c:dLblPos val="t"/>
              <c:showLegendKey val="0"/>
              <c:showVal val="1"/>
              <c:showCatName val="0"/>
              <c:showSerName val="0"/>
              <c:showPercent val="0"/>
              <c:showBubbleSize val="0"/>
            </c:dLbl>
            <c:dLbl>
              <c:idx val="2"/>
              <c:tx>
                <c:rich>
                  <a:bodyPr/>
                  <a:lstStyle/>
                  <a:p>
                    <a:r>
                      <a:t>$  2.94</a:t>
                    </a:r>
                  </a:p>
                </c:rich>
              </c:tx>
              <c:dLblPos val="t"/>
              <c:showLegendKey val="0"/>
              <c:showVal val="1"/>
              <c:showCatName val="0"/>
              <c:showSerName val="0"/>
              <c:showPercent val="0"/>
              <c:showBubbleSize val="0"/>
            </c:dLbl>
            <c:dLbl>
              <c:idx val="3"/>
              <c:tx>
                <c:rich>
                  <a:bodyPr/>
                  <a:lstStyle/>
                  <a:p>
                    <a:r>
                      <a:t>$  2.9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C$2:$C$5</c:f>
              <c:numCache>
                <c:formatCode>General</c:formatCode>
                <c:ptCount val="4"/>
                <c:pt idx="0">
                  <c:v>2.60477282744508</c:v>
                </c:pt>
                <c:pt idx="1">
                  <c:v>2.282245839390452</c:v>
                </c:pt>
                <c:pt idx="2">
                  <c:v>2.9353277645972824</c:v>
                </c:pt>
                <c:pt idx="3">
                  <c:v>2.930900342767537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2948097115582728</c:v>
                </c:pt>
                <c:pt idx="1">
                  <c:v>1.0155003839390617</c:v>
                </c:pt>
                <c:pt idx="2">
                  <c:v>1.2166204683704558</c:v>
                </c:pt>
                <c:pt idx="3">
                  <c:v>0.74439978588855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770.725832</c:v>
                </c:pt>
                <c:pt idx="1">
                  <c:v>303.975026</c:v>
                </c:pt>
                <c:pt idx="2">
                  <c:v>121.257015</c:v>
                </c:pt>
                <c:pt idx="3">
                  <c:v>19.82215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0</a:t>
                    </a:r>
                  </a:p>
                </c:rich>
              </c:tx>
              <c:dLblPos val="t"/>
              <c:showLegendKey val="0"/>
              <c:showVal val="1"/>
              <c:showCatName val="0"/>
              <c:showSerName val="0"/>
              <c:showPercent val="0"/>
              <c:showBubbleSize val="0"/>
            </c:dLbl>
            <c:dLbl>
              <c:idx val="1"/>
              <c:tx>
                <c:rich>
                  <a:bodyPr/>
                  <a:lstStyle/>
                  <a:p>
                    <a:r>
                      <a:t>$  2.56</a:t>
                    </a:r>
                  </a:p>
                </c:rich>
              </c:tx>
              <c:dLblPos val="t"/>
              <c:showLegendKey val="0"/>
              <c:showVal val="1"/>
              <c:showCatName val="0"/>
              <c:showSerName val="0"/>
              <c:showPercent val="0"/>
              <c:showBubbleSize val="0"/>
            </c:dLbl>
            <c:dLbl>
              <c:idx val="2"/>
              <c:tx>
                <c:rich>
                  <a:bodyPr/>
                  <a:lstStyle/>
                  <a:p>
                    <a:r>
                      <a:t>$  2.35</a:t>
                    </a:r>
                  </a:p>
                </c:rich>
              </c:tx>
              <c:dLblPos val="t"/>
              <c:showLegendKey val="0"/>
              <c:showVal val="1"/>
              <c:showCatName val="0"/>
              <c:showSerName val="0"/>
              <c:showPercent val="0"/>
              <c:showBubbleSize val="0"/>
            </c:dLbl>
            <c:dLbl>
              <c:idx val="3"/>
              <c:tx>
                <c:rich>
                  <a:bodyPr/>
                  <a:lstStyle/>
                  <a:p>
                    <a:r>
                      <a:t>$  4.7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7962868566737453</c:v>
                </c:pt>
                <c:pt idx="1">
                  <c:v>2.55800994240462</c:v>
                </c:pt>
                <c:pt idx="2">
                  <c:v>2.3504384763108117</c:v>
                </c:pt>
                <c:pt idx="3">
                  <c:v>4.747549541475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0276033514996636</c:v>
                </c:pt>
                <c:pt idx="1">
                  <c:v>0.9868039737147193</c:v>
                </c:pt>
                <c:pt idx="2">
                  <c:v>1.0979554282687092</c:v>
                </c:pt>
                <c:pt idx="3">
                  <c:v>0.7509642704871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78.104487</c:v>
                </c:pt>
                <c:pt idx="1">
                  <c:v>20.590782</c:v>
                </c:pt>
                <c:pt idx="2">
                  <c:v>19.896189</c:v>
                </c:pt>
                <c:pt idx="3">
                  <c:v>1.560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21</a:t>
                    </a:r>
                  </a:p>
                </c:rich>
              </c:tx>
              <c:dLblPos val="t"/>
              <c:showLegendKey val="0"/>
              <c:showVal val="1"/>
              <c:showCatName val="0"/>
              <c:showSerName val="0"/>
              <c:showPercent val="0"/>
              <c:showBubbleSize val="0"/>
            </c:dLbl>
            <c:dLbl>
              <c:idx val="1"/>
              <c:tx>
                <c:rich>
                  <a:bodyPr/>
                  <a:lstStyle/>
                  <a:p>
                    <a:r>
                      <a:t>$  2.58</a:t>
                    </a:r>
                  </a:p>
                </c:rich>
              </c:tx>
              <c:dLblPos val="t"/>
              <c:showLegendKey val="0"/>
              <c:showVal val="1"/>
              <c:showCatName val="0"/>
              <c:showSerName val="0"/>
              <c:showPercent val="0"/>
              <c:showBubbleSize val="0"/>
            </c:dLbl>
            <c:dLbl>
              <c:idx val="2"/>
              <c:tx>
                <c:rich>
                  <a:bodyPr/>
                  <a:lstStyle/>
                  <a:p>
                    <a:r>
                      <a:t>$  2.13</a:t>
                    </a:r>
                  </a:p>
                </c:rich>
              </c:tx>
              <c:dLblPos val="t"/>
              <c:showLegendKey val="0"/>
              <c:showVal val="1"/>
              <c:showCatName val="0"/>
              <c:showSerName val="0"/>
              <c:showPercent val="0"/>
              <c:showBubbleSize val="0"/>
            </c:dLbl>
            <c:dLbl>
              <c:idx val="3"/>
              <c:tx>
                <c:rich>
                  <a:bodyPr/>
                  <a:lstStyle/>
                  <a:p>
                    <a:r>
                      <a:t>$  3.26</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2.210162649570744</c:v>
                </c:pt>
                <c:pt idx="1">
                  <c:v>2.584611039598026</c:v>
                </c:pt>
                <c:pt idx="2">
                  <c:v>2.1267500412604403</c:v>
                </c:pt>
                <c:pt idx="3">
                  <c:v>3.25683608836706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1937337530286578</c:v>
                </c:pt>
                <c:pt idx="1">
                  <c:v>1.1960986474955813</c:v>
                </c:pt>
                <c:pt idx="2">
                  <c:v>0.9976843272732543</c:v>
                </c:pt>
                <c:pt idx="3">
                  <c:v>0.85119590648380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78.104487</c:v>
                </c:pt>
                <c:pt idx="1">
                  <c:v>20.590782</c:v>
                </c:pt>
                <c:pt idx="2">
                  <c:v>19.896189</c:v>
                </c:pt>
                <c:pt idx="3">
                  <c:v>1.5600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21</a:t>
                    </a:r>
                  </a:p>
                </c:rich>
              </c:tx>
              <c:dLblPos val="t"/>
              <c:showLegendKey val="0"/>
              <c:showVal val="1"/>
              <c:showCatName val="0"/>
              <c:showSerName val="0"/>
              <c:showPercent val="0"/>
              <c:showBubbleSize val="0"/>
            </c:dLbl>
            <c:dLbl>
              <c:idx val="1"/>
              <c:tx>
                <c:rich>
                  <a:bodyPr/>
                  <a:lstStyle/>
                  <a:p>
                    <a:r>
                      <a:t>$  2.58</a:t>
                    </a:r>
                  </a:p>
                </c:rich>
              </c:tx>
              <c:dLblPos val="t"/>
              <c:showLegendKey val="0"/>
              <c:showVal val="1"/>
              <c:showCatName val="0"/>
              <c:showSerName val="0"/>
              <c:showPercent val="0"/>
              <c:showBubbleSize val="0"/>
            </c:dLbl>
            <c:dLbl>
              <c:idx val="2"/>
              <c:tx>
                <c:rich>
                  <a:bodyPr/>
                  <a:lstStyle/>
                  <a:p>
                    <a:r>
                      <a:t>$  2.13</a:t>
                    </a:r>
                  </a:p>
                </c:rich>
              </c:tx>
              <c:dLblPos val="t"/>
              <c:showLegendKey val="0"/>
              <c:showVal val="1"/>
              <c:showCatName val="0"/>
              <c:showSerName val="0"/>
              <c:showPercent val="0"/>
              <c:showBubbleSize val="0"/>
            </c:dLbl>
            <c:dLbl>
              <c:idx val="3"/>
              <c:tx>
                <c:rich>
                  <a:bodyPr/>
                  <a:lstStyle/>
                  <a:p>
                    <a:r>
                      <a:t>$  3.26</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2.210162649570744</c:v>
                </c:pt>
                <c:pt idx="1">
                  <c:v>2.584611039598026</c:v>
                </c:pt>
                <c:pt idx="2">
                  <c:v>2.1267500412604403</c:v>
                </c:pt>
                <c:pt idx="3">
                  <c:v>3.25683608836706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1937337530286578</c:v>
                </c:pt>
                <c:pt idx="1">
                  <c:v>1.1960986474955813</c:v>
                </c:pt>
                <c:pt idx="2">
                  <c:v>0.9976843272732543</c:v>
                </c:pt>
                <c:pt idx="3">
                  <c:v>0.851195906483801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249.345801</c:v>
                </c:pt>
                <c:pt idx="1">
                  <c:v>83.01849</c:v>
                </c:pt>
                <c:pt idx="2">
                  <c:v>40.195578</c:v>
                </c:pt>
                <c:pt idx="3">
                  <c:v>6.78546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3</a:t>
                    </a:r>
                  </a:p>
                </c:rich>
              </c:tx>
              <c:dLblPos val="t"/>
              <c:showLegendKey val="0"/>
              <c:showVal val="1"/>
              <c:showCatName val="0"/>
              <c:showSerName val="0"/>
              <c:showPercent val="0"/>
              <c:showBubbleSize val="0"/>
            </c:dLbl>
            <c:dLbl>
              <c:idx val="1"/>
              <c:tx>
                <c:rich>
                  <a:bodyPr/>
                  <a:lstStyle/>
                  <a:p>
                    <a:r>
                      <a:t>$  2.46</a:t>
                    </a:r>
                  </a:p>
                </c:rich>
              </c:tx>
              <c:dLblPos val="t"/>
              <c:showLegendKey val="0"/>
              <c:showVal val="1"/>
              <c:showCatName val="0"/>
              <c:showSerName val="0"/>
              <c:showPercent val="0"/>
              <c:showBubbleSize val="0"/>
            </c:dLbl>
            <c:dLbl>
              <c:idx val="2"/>
              <c:tx>
                <c:rich>
                  <a:bodyPr/>
                  <a:lstStyle/>
                  <a:p>
                    <a:r>
                      <a:t>$  2.03</a:t>
                    </a:r>
                  </a:p>
                </c:rich>
              </c:tx>
              <c:dLblPos val="t"/>
              <c:showLegendKey val="0"/>
              <c:showVal val="1"/>
              <c:showCatName val="0"/>
              <c:showSerName val="0"/>
              <c:showPercent val="0"/>
              <c:showBubbleSize val="0"/>
            </c:dLbl>
            <c:dLbl>
              <c:idx val="3"/>
              <c:tx>
                <c:rich>
                  <a:bodyPr/>
                  <a:lstStyle/>
                  <a:p>
                    <a:r>
                      <a:t>$  4.60</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42594392629701</c:v>
                </c:pt>
                <c:pt idx="1">
                  <c:v>2.4564002477275295</c:v>
                </c:pt>
                <c:pt idx="2">
                  <c:v>2.025649866705639</c:v>
                </c:pt>
                <c:pt idx="3">
                  <c:v>4.60489069135832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0062284836600108</c:v>
                </c:pt>
                <c:pt idx="1">
                  <c:v>0.9798573798842904</c:v>
                </c:pt>
                <c:pt idx="2">
                  <c:v>1.1394719395285453</c:v>
                </c:pt>
                <c:pt idx="3">
                  <c:v>0.770708291085461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62.934152</c:v>
                </c:pt>
                <c:pt idx="1">
                  <c:v>15.331294</c:v>
                </c:pt>
                <c:pt idx="2">
                  <c:v>10.944349</c:v>
                </c:pt>
                <c:pt idx="3">
                  <c:v>0.68529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13</a:t>
                    </a:r>
                  </a:p>
                </c:rich>
              </c:tx>
              <c:dLblPos val="t"/>
              <c:showLegendKey val="0"/>
              <c:showVal val="1"/>
              <c:showCatName val="0"/>
              <c:showSerName val="0"/>
              <c:showPercent val="0"/>
              <c:showBubbleSize val="0"/>
            </c:dLbl>
            <c:dLbl>
              <c:idx val="1"/>
              <c:tx>
                <c:rich>
                  <a:bodyPr/>
                  <a:lstStyle/>
                  <a:p>
                    <a:r>
                      <a:t>$  2.48</a:t>
                    </a:r>
                  </a:p>
                </c:rich>
              </c:tx>
              <c:dLblPos val="t"/>
              <c:showLegendKey val="0"/>
              <c:showVal val="1"/>
              <c:showCatName val="0"/>
              <c:showSerName val="0"/>
              <c:showPercent val="0"/>
              <c:showBubbleSize val="0"/>
            </c:dLbl>
            <c:dLbl>
              <c:idx val="2"/>
              <c:tx>
                <c:rich>
                  <a:bodyPr/>
                  <a:lstStyle/>
                  <a:p>
                    <a:r>
                      <a:t>$  2.01</a:t>
                    </a:r>
                  </a:p>
                </c:rich>
              </c:tx>
              <c:dLblPos val="t"/>
              <c:showLegendKey val="0"/>
              <c:showVal val="1"/>
              <c:showCatName val="0"/>
              <c:showSerName val="0"/>
              <c:showPercent val="0"/>
              <c:showBubbleSize val="0"/>
            </c:dLbl>
            <c:dLbl>
              <c:idx val="3"/>
              <c:tx>
                <c:rich>
                  <a:bodyPr/>
                  <a:lstStyle/>
                  <a:p>
                    <a:r>
                      <a:t>$  3.80</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2.1322954429926764</c:v>
                </c:pt>
                <c:pt idx="1">
                  <c:v>2.482842464067411</c:v>
                </c:pt>
                <c:pt idx="2">
                  <c:v>2.0144854629984468</c:v>
                </c:pt>
                <c:pt idx="3">
                  <c:v>3.79561781012356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171686118978672</c:v>
                </c:pt>
                <c:pt idx="1">
                  <c:v>1.1892170926879637</c:v>
                </c:pt>
                <c:pt idx="2">
                  <c:v>0.9835700332735158</c:v>
                </c:pt>
                <c:pt idx="3">
                  <c:v>1.04201543951841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53.548944</c:v>
                </c:pt>
                <c:pt idx="1">
                  <c:v>19.602573</c:v>
                </c:pt>
                <c:pt idx="2">
                  <c:v>6.40982</c:v>
                </c:pt>
                <c:pt idx="3">
                  <c:v>1.84572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85</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6.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3.84704867356103</c:v>
                </c:pt>
                <c:pt idx="1">
                  <c:v>3.31884346037474</c:v>
                </c:pt>
                <c:pt idx="2">
                  <c:v>3.109603754527487</c:v>
                </c:pt>
                <c:pt idx="3">
                  <c:v>6.6117574993372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358806356920245</c:v>
                </c:pt>
                <c:pt idx="1">
                  <c:v>1.0788959653706645</c:v>
                </c:pt>
                <c:pt idx="2">
                  <c:v>1.04413678738921</c:v>
                </c:pt>
                <c:pt idx="3">
                  <c:v>0.748362965515843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31.018165</c:v>
                </c:pt>
                <c:pt idx="1">
                  <c:v>10.87827</c:v>
                </c:pt>
                <c:pt idx="2">
                  <c:v>4.840828</c:v>
                </c:pt>
                <c:pt idx="3">
                  <c:v>0.78284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9</a:t>
                    </a:r>
                  </a:p>
                </c:rich>
              </c:tx>
              <c:dLblPos val="t"/>
              <c:showLegendKey val="0"/>
              <c:showVal val="1"/>
              <c:showCatName val="0"/>
              <c:showSerName val="0"/>
              <c:showPercent val="0"/>
              <c:showBubbleSize val="0"/>
            </c:dLbl>
            <c:dLbl>
              <c:idx val="1"/>
              <c:tx>
                <c:rich>
                  <a:bodyPr/>
                  <a:lstStyle/>
                  <a:p>
                    <a:r>
                      <a:t>$  2.41</a:t>
                    </a:r>
                  </a:p>
                </c:rich>
              </c:tx>
              <c:dLblPos val="t"/>
              <c:showLegendKey val="0"/>
              <c:showVal val="1"/>
              <c:showCatName val="0"/>
              <c:showSerName val="0"/>
              <c:showPercent val="0"/>
              <c:showBubbleSize val="0"/>
            </c:dLbl>
            <c:dLbl>
              <c:idx val="2"/>
              <c:tx>
                <c:rich>
                  <a:bodyPr/>
                  <a:lstStyle/>
                  <a:p>
                    <a:r>
                      <a:t>$  1.85</a:t>
                    </a:r>
                  </a:p>
                </c:rich>
              </c:tx>
              <c:dLblPos val="t"/>
              <c:showLegendKey val="0"/>
              <c:showVal val="1"/>
              <c:showCatName val="0"/>
              <c:showSerName val="0"/>
              <c:showPercent val="0"/>
              <c:showBubbleSize val="0"/>
            </c:dLbl>
            <c:dLbl>
              <c:idx val="3"/>
              <c:tx>
                <c:rich>
                  <a:bodyPr/>
                  <a:lstStyle/>
                  <a:p>
                    <a:r>
                      <a:t>$  4.6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2850273525677376</c:v>
                </c:pt>
                <c:pt idx="1">
                  <c:v>2.4057042835201847</c:v>
                </c:pt>
                <c:pt idx="2">
                  <c:v>1.853232974707314</c:v>
                </c:pt>
                <c:pt idx="3">
                  <c:v>4.6459130806345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797742045947053</c:v>
                </c:pt>
                <c:pt idx="1">
                  <c:v>0.947346255345019</c:v>
                </c:pt>
                <c:pt idx="2">
                  <c:v>1.0254796580906886</c:v>
                </c:pt>
                <c:pt idx="3">
                  <c:v>0.78381135846177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31.018165</c:v>
                </c:pt>
                <c:pt idx="1">
                  <c:v>10.87827</c:v>
                </c:pt>
                <c:pt idx="2">
                  <c:v>4.840828</c:v>
                </c:pt>
                <c:pt idx="3">
                  <c:v>0.78284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9</a:t>
                    </a:r>
                  </a:p>
                </c:rich>
              </c:tx>
              <c:dLblPos val="t"/>
              <c:showLegendKey val="0"/>
              <c:showVal val="1"/>
              <c:showCatName val="0"/>
              <c:showSerName val="0"/>
              <c:showPercent val="0"/>
              <c:showBubbleSize val="0"/>
            </c:dLbl>
            <c:dLbl>
              <c:idx val="1"/>
              <c:tx>
                <c:rich>
                  <a:bodyPr/>
                  <a:lstStyle/>
                  <a:p>
                    <a:r>
                      <a:t>$  2.41</a:t>
                    </a:r>
                  </a:p>
                </c:rich>
              </c:tx>
              <c:dLblPos val="t"/>
              <c:showLegendKey val="0"/>
              <c:showVal val="1"/>
              <c:showCatName val="0"/>
              <c:showSerName val="0"/>
              <c:showPercent val="0"/>
              <c:showBubbleSize val="0"/>
            </c:dLbl>
            <c:dLbl>
              <c:idx val="2"/>
              <c:tx>
                <c:rich>
                  <a:bodyPr/>
                  <a:lstStyle/>
                  <a:p>
                    <a:r>
                      <a:t>$  1.85</a:t>
                    </a:r>
                  </a:p>
                </c:rich>
              </c:tx>
              <c:dLblPos val="t"/>
              <c:showLegendKey val="0"/>
              <c:showVal val="1"/>
              <c:showCatName val="0"/>
              <c:showSerName val="0"/>
              <c:showPercent val="0"/>
              <c:showBubbleSize val="0"/>
            </c:dLbl>
            <c:dLbl>
              <c:idx val="3"/>
              <c:tx>
                <c:rich>
                  <a:bodyPr/>
                  <a:lstStyle/>
                  <a:p>
                    <a:r>
                      <a:t>$  4.65</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2850273525677376</c:v>
                </c:pt>
                <c:pt idx="1">
                  <c:v>2.4057042835201847</c:v>
                </c:pt>
                <c:pt idx="2">
                  <c:v>1.853232974707314</c:v>
                </c:pt>
                <c:pt idx="3">
                  <c:v>4.6459130806345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0.9797742045947053</c:v>
                </c:pt>
                <c:pt idx="1">
                  <c:v>0.947346255345019</c:v>
                </c:pt>
                <c:pt idx="2">
                  <c:v>1.0254796580906886</c:v>
                </c:pt>
                <c:pt idx="3">
                  <c:v>0.78381135846177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823641</c:v>
                </c:pt>
                <c:pt idx="1">
                  <c:v>5.283459</c:v>
                </c:pt>
                <c:pt idx="2">
                  <c:v>2.7315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359</c:v>
                </c:pt>
                <c:pt idx="1">
                  <c:v>0.000654</c:v>
                </c:pt>
                <c:pt idx="2">
                  <c:v>0.0004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207.262231</c:v>
                </c:pt>
                <c:pt idx="1">
                  <c:v>68.058485</c:v>
                </c:pt>
                <c:pt idx="2">
                  <c:v>33.536443</c:v>
                </c:pt>
                <c:pt idx="3">
                  <c:v>5.7409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6</a:t>
                    </a:r>
                  </a:p>
                </c:rich>
              </c:tx>
              <c:dLblPos val="t"/>
              <c:showLegendKey val="0"/>
              <c:showVal val="1"/>
              <c:showCatName val="0"/>
              <c:showSerName val="0"/>
              <c:showPercent val="0"/>
              <c:showBubbleSize val="0"/>
            </c:dLbl>
            <c:dLbl>
              <c:idx val="1"/>
              <c:tx>
                <c:rich>
                  <a:bodyPr/>
                  <a:lstStyle/>
                  <a:p>
                    <a:r>
                      <a:t>$  2.48</a:t>
                    </a:r>
                  </a:p>
                </c:rich>
              </c:tx>
              <c:dLblPos val="t"/>
              <c:showLegendKey val="0"/>
              <c:showVal val="1"/>
              <c:showCatName val="0"/>
              <c:showSerName val="0"/>
              <c:showPercent val="0"/>
              <c:showBubbleSize val="0"/>
            </c:dLbl>
            <c:dLbl>
              <c:idx val="2"/>
              <c:tx>
                <c:rich>
                  <a:bodyPr/>
                  <a:lstStyle/>
                  <a:p>
                    <a:r>
                      <a:t>$  2.07</a:t>
                    </a:r>
                  </a:p>
                </c:rich>
              </c:tx>
              <c:dLblPos val="t"/>
              <c:showLegendKey val="0"/>
              <c:showVal val="1"/>
              <c:showCatName val="0"/>
              <c:showSerName val="0"/>
              <c:showPercent val="0"/>
              <c:showBubbleSize val="0"/>
            </c:dLbl>
            <c:dLbl>
              <c:idx val="3"/>
              <c:tx>
                <c:rich>
                  <a:bodyPr/>
                  <a:lstStyle/>
                  <a:p>
                    <a:r>
                      <a:t>$  4.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464679057475957</c:v>
                </c:pt>
                <c:pt idx="1">
                  <c:v>2.478527538324894</c:v>
                </c:pt>
                <c:pt idx="2">
                  <c:v>2.072183717025598</c:v>
                </c:pt>
                <c:pt idx="3">
                  <c:v>4.6050600886530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0103121951968055</c:v>
                </c:pt>
                <c:pt idx="1">
                  <c:v>0.9864316966720234</c:v>
                </c:pt>
                <c:pt idx="2">
                  <c:v>1.1607443562510515</c:v>
                </c:pt>
                <c:pt idx="3">
                  <c:v>0.76860332978637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207.262231</c:v>
                </c:pt>
                <c:pt idx="1">
                  <c:v>68.058485</c:v>
                </c:pt>
                <c:pt idx="2">
                  <c:v>33.536443</c:v>
                </c:pt>
                <c:pt idx="3">
                  <c:v>5.7409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6</a:t>
                    </a:r>
                  </a:p>
                </c:rich>
              </c:tx>
              <c:dLblPos val="t"/>
              <c:showLegendKey val="0"/>
              <c:showVal val="1"/>
              <c:showCatName val="0"/>
              <c:showSerName val="0"/>
              <c:showPercent val="0"/>
              <c:showBubbleSize val="0"/>
            </c:dLbl>
            <c:dLbl>
              <c:idx val="1"/>
              <c:tx>
                <c:rich>
                  <a:bodyPr/>
                  <a:lstStyle/>
                  <a:p>
                    <a:r>
                      <a:t>$  2.48</a:t>
                    </a:r>
                  </a:p>
                </c:rich>
              </c:tx>
              <c:dLblPos val="t"/>
              <c:showLegendKey val="0"/>
              <c:showVal val="1"/>
              <c:showCatName val="0"/>
              <c:showSerName val="0"/>
              <c:showPercent val="0"/>
              <c:showBubbleSize val="0"/>
            </c:dLbl>
            <c:dLbl>
              <c:idx val="2"/>
              <c:tx>
                <c:rich>
                  <a:bodyPr/>
                  <a:lstStyle/>
                  <a:p>
                    <a:r>
                      <a:t>$  2.07</a:t>
                    </a:r>
                  </a:p>
                </c:rich>
              </c:tx>
              <c:dLblPos val="t"/>
              <c:showLegendKey val="0"/>
              <c:showVal val="1"/>
              <c:showCatName val="0"/>
              <c:showSerName val="0"/>
              <c:showPercent val="0"/>
              <c:showBubbleSize val="0"/>
            </c:dLbl>
            <c:dLbl>
              <c:idx val="3"/>
              <c:tx>
                <c:rich>
                  <a:bodyPr/>
                  <a:lstStyle/>
                  <a:p>
                    <a:r>
                      <a:t>$  4.61</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C$2:$C$5</c:f>
              <c:numCache>
                <c:formatCode>General</c:formatCode>
                <c:ptCount val="4"/>
                <c:pt idx="0">
                  <c:v>1.464679057475957</c:v>
                </c:pt>
                <c:pt idx="1">
                  <c:v>2.478527538324894</c:v>
                </c:pt>
                <c:pt idx="2">
                  <c:v>2.072183717025598</c:v>
                </c:pt>
                <c:pt idx="3">
                  <c:v>4.6050600886530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8.6</a:t>
                    </a:r>
                  </a:p>
                </c:rich>
              </c:tx>
              <c:showLegendKey val="0"/>
              <c:showVal val="1"/>
              <c:showCatName val="0"/>
              <c:showSerName val="0"/>
              <c:showPercent val="0"/>
              <c:showBubbleSize val="0"/>
            </c:dLbl>
            <c:dLbl>
              <c:idx val="1"/>
              <c:tx>
                <c:rich>
                  <a:bodyPr/>
                  <a:lstStyle/>
                  <a:p>
                    <a:r>
                      <a:rPr>
                        <a:solidFill>
                          <a:srgbClr val="FFFFFF"/>
                        </a:solidFill>
                      </a:rPr>
                      <a:t>17.1</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8.606924</c:v>
                </c:pt>
                <c:pt idx="1">
                  <c:v>17.140404</c:v>
                </c:pt>
                <c:pt idx="2">
                  <c:v>9.05715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786</c:v>
                </c:pt>
                <c:pt idx="1">
                  <c:v>0.001564</c:v>
                </c:pt>
                <c:pt idx="2">
                  <c:v>0.0011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Sensitive Skin</c:v>
                </c:pt>
                <c:pt idx="2">
                  <c:v>Rem Types</c:v>
                </c:pt>
                <c:pt idx="3">
                  <c:v>Dry Skin</c:v>
                </c:pt>
              </c:strCache>
            </c:strRef>
          </c:cat>
          <c:val>
            <c:numRef>
              <c:f>Sheet1!$B$2:$B$5</c:f>
              <c:numCache>
                <c:formatCode>General</c:formatCode>
                <c:ptCount val="4"/>
                <c:pt idx="0">
                  <c:v>1.0103121951968055</c:v>
                </c:pt>
                <c:pt idx="1">
                  <c:v>0.9864316966720234</c:v>
                </c:pt>
                <c:pt idx="2">
                  <c:v>1.1607443562510515</c:v>
                </c:pt>
                <c:pt idx="3">
                  <c:v>0.768603329786373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5.170335</c:v>
                </c:pt>
                <c:pt idx="1">
                  <c:v>8.95184</c:v>
                </c:pt>
                <c:pt idx="2">
                  <c:v>5.259488</c:v>
                </c:pt>
                <c:pt idx="3">
                  <c:v>0.87473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60</a:t>
                    </a:r>
                  </a:p>
                </c:rich>
              </c:tx>
              <c:dLblPos val="t"/>
              <c:showLegendKey val="0"/>
              <c:showVal val="1"/>
              <c:showCatName val="0"/>
              <c:showSerName val="0"/>
              <c:showPercent val="0"/>
              <c:showBubbleSize val="0"/>
            </c:dLbl>
            <c:dLbl>
              <c:idx val="1"/>
              <c:tx>
                <c:rich>
                  <a:bodyPr/>
                  <a:lstStyle/>
                  <a:p>
                    <a:r>
                      <a:t>$  2.28</a:t>
                    </a:r>
                  </a:p>
                </c:rich>
              </c:tx>
              <c:dLblPos val="t"/>
              <c:showLegendKey val="0"/>
              <c:showVal val="1"/>
              <c:showCatName val="0"/>
              <c:showSerName val="0"/>
              <c:showPercent val="0"/>
              <c:showBubbleSize val="0"/>
            </c:dLbl>
            <c:dLbl>
              <c:idx val="2"/>
              <c:tx>
                <c:rich>
                  <a:bodyPr/>
                  <a:lstStyle/>
                  <a:p>
                    <a:r>
                      <a:t>$  2.94</a:t>
                    </a:r>
                  </a:p>
                </c:rich>
              </c:tx>
              <c:dLblPos val="t"/>
              <c:showLegendKey val="0"/>
              <c:showVal val="1"/>
              <c:showCatName val="0"/>
              <c:showSerName val="0"/>
              <c:showPercent val="0"/>
              <c:showBubbleSize val="0"/>
            </c:dLbl>
            <c:dLbl>
              <c:idx val="3"/>
              <c:tx>
                <c:rich>
                  <a:bodyPr/>
                  <a:lstStyle/>
                  <a:p>
                    <a:r>
                      <a:t>$  2.9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C$2:$C$5</c:f>
              <c:numCache>
                <c:formatCode>General</c:formatCode>
                <c:ptCount val="4"/>
                <c:pt idx="0">
                  <c:v>2.60477282744508</c:v>
                </c:pt>
                <c:pt idx="1">
                  <c:v>2.282245839390452</c:v>
                </c:pt>
                <c:pt idx="2">
                  <c:v>2.9353277645972824</c:v>
                </c:pt>
                <c:pt idx="3">
                  <c:v>2.930900342767537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2948097115582728</c:v>
                </c:pt>
                <c:pt idx="1">
                  <c:v>1.0155003839390617</c:v>
                </c:pt>
                <c:pt idx="2">
                  <c:v>1.2166204683704558</c:v>
                </c:pt>
                <c:pt idx="3">
                  <c:v>0.74439978588855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5.170335</c:v>
                </c:pt>
                <c:pt idx="1">
                  <c:v>8.95184</c:v>
                </c:pt>
                <c:pt idx="2">
                  <c:v>5.259488</c:v>
                </c:pt>
                <c:pt idx="3">
                  <c:v>0.87473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60</a:t>
                    </a:r>
                  </a:p>
                </c:rich>
              </c:tx>
              <c:dLblPos val="t"/>
              <c:showLegendKey val="0"/>
              <c:showVal val="1"/>
              <c:showCatName val="0"/>
              <c:showSerName val="0"/>
              <c:showPercent val="0"/>
              <c:showBubbleSize val="0"/>
            </c:dLbl>
            <c:dLbl>
              <c:idx val="1"/>
              <c:tx>
                <c:rich>
                  <a:bodyPr/>
                  <a:lstStyle/>
                  <a:p>
                    <a:r>
                      <a:t>$  2.28</a:t>
                    </a:r>
                  </a:p>
                </c:rich>
              </c:tx>
              <c:dLblPos val="t"/>
              <c:showLegendKey val="0"/>
              <c:showVal val="1"/>
              <c:showCatName val="0"/>
              <c:showSerName val="0"/>
              <c:showPercent val="0"/>
              <c:showBubbleSize val="0"/>
            </c:dLbl>
            <c:dLbl>
              <c:idx val="2"/>
              <c:tx>
                <c:rich>
                  <a:bodyPr/>
                  <a:lstStyle/>
                  <a:p>
                    <a:r>
                      <a:t>$  2.94</a:t>
                    </a:r>
                  </a:p>
                </c:rich>
              </c:tx>
              <c:dLblPos val="t"/>
              <c:showLegendKey val="0"/>
              <c:showVal val="1"/>
              <c:showCatName val="0"/>
              <c:showSerName val="0"/>
              <c:showPercent val="0"/>
              <c:showBubbleSize val="0"/>
            </c:dLbl>
            <c:dLbl>
              <c:idx val="3"/>
              <c:tx>
                <c:rich>
                  <a:bodyPr/>
                  <a:lstStyle/>
                  <a:p>
                    <a:r>
                      <a:t>$  2.9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C$2:$C$5</c:f>
              <c:numCache>
                <c:formatCode>General</c:formatCode>
                <c:ptCount val="4"/>
                <c:pt idx="0">
                  <c:v>2.60477282744508</c:v>
                </c:pt>
                <c:pt idx="1">
                  <c:v>2.282245839390452</c:v>
                </c:pt>
                <c:pt idx="2">
                  <c:v>2.9353277645972824</c:v>
                </c:pt>
                <c:pt idx="3">
                  <c:v>2.930900342767537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 Skin</c:v>
                </c:pt>
                <c:pt idx="1">
                  <c:v>Rem Types</c:v>
                </c:pt>
                <c:pt idx="2">
                  <c:v>Sensitive Skin</c:v>
                </c:pt>
                <c:pt idx="3">
                  <c:v>Dry Skin</c:v>
                </c:pt>
              </c:strCache>
            </c:strRef>
          </c:cat>
          <c:val>
            <c:numRef>
              <c:f>Sheet1!$B$2:$B$5</c:f>
              <c:numCache>
                <c:formatCode>General</c:formatCode>
                <c:ptCount val="4"/>
                <c:pt idx="0">
                  <c:v>1.2948097115582728</c:v>
                </c:pt>
                <c:pt idx="1">
                  <c:v>1.0155003839390617</c:v>
                </c:pt>
                <c:pt idx="2">
                  <c:v>1.2166204683704558</c:v>
                </c:pt>
                <c:pt idx="3">
                  <c:v>0.74439978588855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81.405202</c:v>
                </c:pt>
                <c:pt idx="1">
                  <c:v>97.455356</c:v>
                </c:pt>
                <c:pt idx="2">
                  <c:v>51.5839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5</a:t>
                    </a:r>
                  </a:p>
                </c:rich>
              </c:tx>
              <c:dLblPos val="t"/>
              <c:showLegendKey val="0"/>
              <c:showVal val="1"/>
              <c:showCatName val="0"/>
              <c:showSerName val="0"/>
              <c:showPercent val="0"/>
              <c:showBubbleSize val="0"/>
            </c:dLbl>
            <c:dLbl>
              <c:idx val="1"/>
              <c:tx>
                <c:rich>
                  <a:bodyPr/>
                  <a:lstStyle/>
                  <a:p>
                    <a:r>
                      <a:t>$  2.88</a:t>
                    </a:r>
                  </a:p>
                </c:rich>
              </c:tx>
              <c:dLblPos val="t"/>
              <c:showLegendKey val="0"/>
              <c:showVal val="1"/>
              <c:showCatName val="0"/>
              <c:showSerName val="0"/>
              <c:showPercent val="0"/>
              <c:showBubbleSize val="0"/>
            </c:dLbl>
            <c:dLbl>
              <c:idx val="2"/>
              <c:tx>
                <c:rich>
                  <a:bodyPr/>
                  <a:lstStyle/>
                  <a:p>
                    <a:r>
                      <a:t>$  5.16</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3.5545987066216926</c:v>
                </c:pt>
                <c:pt idx="1">
                  <c:v>2.8782769870818687</c:v>
                </c:pt>
                <c:pt idx="2">
                  <c:v>5.16256437072936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121499933369633</c:v>
                </c:pt>
                <c:pt idx="1">
                  <c:v>1.1410099306547616</c:v>
                </c:pt>
                <c:pt idx="2">
                  <c:v>0.9372012321052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28.381507</c:v>
                </c:pt>
                <c:pt idx="1">
                  <c:v>5.480306</c:v>
                </c:pt>
                <c:pt idx="2">
                  <c:v>0.15034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65</a:t>
                    </a:r>
                  </a:p>
                </c:rich>
              </c:tx>
              <c:dLblPos val="t"/>
              <c:showLegendKey val="0"/>
              <c:showVal val="1"/>
              <c:showCatName val="0"/>
              <c:showSerName val="0"/>
              <c:showPercent val="0"/>
              <c:showBubbleSize val="0"/>
            </c:dLbl>
            <c:dLbl>
              <c:idx val="1"/>
              <c:tx>
                <c:rich>
                  <a:bodyPr/>
                  <a:lstStyle/>
                  <a:p>
                    <a:r>
                      <a:t>$  2.53</a:t>
                    </a:r>
                  </a:p>
                </c:rich>
              </c:tx>
              <c:dLblPos val="t"/>
              <c:showLegendKey val="0"/>
              <c:showVal val="1"/>
              <c:showCatName val="0"/>
              <c:showSerName val="0"/>
              <c:showPercent val="0"/>
              <c:showBubbleSize val="0"/>
            </c:dLbl>
            <c:dLbl>
              <c:idx val="2"/>
              <c:tx>
                <c:rich>
                  <a:bodyPr/>
                  <a:lstStyle/>
                  <a:p>
                    <a:r>
                      <a:t>$  1.40</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C$2:$C$4</c:f>
              <c:numCache>
                <c:formatCode>General</c:formatCode>
                <c:ptCount val="3"/>
                <c:pt idx="0">
                  <c:v>1.6504069508332775</c:v>
                </c:pt>
                <c:pt idx="1">
                  <c:v>2.5273291404148095</c:v>
                </c:pt>
                <c:pt idx="2">
                  <c:v>1.40337530686729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1.0603436900272611</c:v>
                </c:pt>
                <c:pt idx="1">
                  <c:v>0.9634127518489284</c:v>
                </c:pt>
                <c:pt idx="2">
                  <c:v>1.23555661478279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37.349224</c:v>
                </c:pt>
                <c:pt idx="1">
                  <c:v>7.363447</c:v>
                </c:pt>
                <c:pt idx="2">
                  <c:v>4.12856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44</a:t>
                    </a:r>
                  </a:p>
                </c:rich>
              </c:tx>
              <c:dLblPos val="t"/>
              <c:showLegendKey val="0"/>
              <c:showVal val="1"/>
              <c:showCatName val="0"/>
              <c:showSerName val="0"/>
              <c:showPercent val="0"/>
              <c:showBubbleSize val="0"/>
            </c:dLbl>
            <c:dLbl>
              <c:idx val="1"/>
              <c:tx>
                <c:rich>
                  <a:bodyPr/>
                  <a:lstStyle/>
                  <a:p>
                    <a:r>
                      <a:t>$  0.82</a:t>
                    </a:r>
                  </a:p>
                </c:rich>
              </c:tx>
              <c:dLblPos val="t"/>
              <c:showLegendKey val="0"/>
              <c:showVal val="1"/>
              <c:showCatName val="0"/>
              <c:showSerName val="0"/>
              <c:showPercent val="0"/>
              <c:showBubbleSize val="0"/>
            </c:dLbl>
            <c:dLbl>
              <c:idx val="2"/>
              <c:tx>
                <c:rich>
                  <a:bodyPr/>
                  <a:lstStyle/>
                  <a:p>
                    <a:r>
                      <a:t>$  2.3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0.43677374550506914</c:v>
                </c:pt>
                <c:pt idx="1">
                  <c:v>0.8220676084163538</c:v>
                </c:pt>
                <c:pt idx="2">
                  <c:v>2.32724057634106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844151240117608</c:v>
                </c:pt>
                <c:pt idx="1">
                  <c:v>1.243434623001114</c:v>
                </c:pt>
                <c:pt idx="2">
                  <c:v>1.116242167374315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8.913328</c:v>
                </c:pt>
                <c:pt idx="1">
                  <c:v>31.266579</c:v>
                </c:pt>
                <c:pt idx="2">
                  <c:v>27.6295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7</a:t>
                    </a:r>
                  </a:p>
                </c:rich>
              </c:tx>
              <c:dLblPos val="t"/>
              <c:showLegendKey val="0"/>
              <c:showVal val="1"/>
              <c:showCatName val="0"/>
              <c:showSerName val="0"/>
              <c:showPercent val="0"/>
              <c:showBubbleSize val="0"/>
            </c:dLbl>
            <c:dLbl>
              <c:idx val="1"/>
              <c:tx>
                <c:rich>
                  <a:bodyPr/>
                  <a:lstStyle/>
                  <a:p>
                    <a:r>
                      <a:t>$  2.26</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866240262755373</c:v>
                </c:pt>
                <c:pt idx="1">
                  <c:v>2.2588201152492746</c:v>
                </c:pt>
                <c:pt idx="2">
                  <c:v>3.317129342826490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606166261711413</c:v>
                </c:pt>
                <c:pt idx="1">
                  <c:v>1.0590559598383176</c:v>
                </c:pt>
                <c:pt idx="2">
                  <c:v>1.047825106867986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45.663592</c:v>
                </c:pt>
                <c:pt idx="1">
                  <c:v>13.840344</c:v>
                </c:pt>
                <c:pt idx="2">
                  <c:v>13.43569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50</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2.39</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C$2:$C$4</c:f>
              <c:numCache>
                <c:formatCode>General</c:formatCode>
                <c:ptCount val="3"/>
                <c:pt idx="0">
                  <c:v>2.503119444002562</c:v>
                </c:pt>
                <c:pt idx="1">
                  <c:v>3.319477895560884</c:v>
                </c:pt>
                <c:pt idx="2">
                  <c:v>2.390680368375323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9200908356026349</c:v>
                </c:pt>
                <c:pt idx="1">
                  <c:v>0.8088024504702626</c:v>
                </c:pt>
                <c:pt idx="2">
                  <c:v>1.0818796082694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249.345801</c:v>
                </c:pt>
                <c:pt idx="1">
                  <c:v>78.104487</c:v>
                </c:pt>
                <c:pt idx="2">
                  <c:v>53.5489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3</a:t>
                    </a:r>
                  </a:p>
                </c:rich>
              </c:tx>
              <c:dLblPos val="t"/>
              <c:showLegendKey val="0"/>
              <c:showVal val="1"/>
              <c:showCatName val="0"/>
              <c:showSerName val="0"/>
              <c:showPercent val="0"/>
              <c:showBubbleSize val="0"/>
            </c:dLbl>
            <c:dLbl>
              <c:idx val="1"/>
              <c:tx>
                <c:rich>
                  <a:bodyPr/>
                  <a:lstStyle/>
                  <a:p>
                    <a:r>
                      <a:t>$  2.21</a:t>
                    </a:r>
                  </a:p>
                </c:rich>
              </c:tx>
              <c:dLblPos val="t"/>
              <c:showLegendKey val="0"/>
              <c:showVal val="1"/>
              <c:showCatName val="0"/>
              <c:showSerName val="0"/>
              <c:showPercent val="0"/>
              <c:showBubbleSize val="0"/>
            </c:dLbl>
            <c:dLbl>
              <c:idx val="2"/>
              <c:tx>
                <c:rich>
                  <a:bodyPr/>
                  <a:lstStyle/>
                  <a:p>
                    <a:r>
                      <a:t>$  3.8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42594392629701</c:v>
                </c:pt>
                <c:pt idx="1">
                  <c:v>2.210162649570744</c:v>
                </c:pt>
                <c:pt idx="2">
                  <c:v>3.847048673561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062284836600108</c:v>
                </c:pt>
                <c:pt idx="1">
                  <c:v>1.1937337530286578</c:v>
                </c:pt>
                <c:pt idx="2">
                  <c:v>0.93588063569202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40.195578</c:v>
                </c:pt>
                <c:pt idx="1">
                  <c:v>19.896189</c:v>
                </c:pt>
                <c:pt idx="2">
                  <c:v>6.4098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3</a:t>
                    </a:r>
                  </a:p>
                </c:rich>
              </c:tx>
              <c:dLblPos val="t"/>
              <c:showLegendKey val="0"/>
              <c:showVal val="1"/>
              <c:showCatName val="0"/>
              <c:showSerName val="0"/>
              <c:showPercent val="0"/>
              <c:showBubbleSize val="0"/>
            </c:dLbl>
            <c:dLbl>
              <c:idx val="1"/>
              <c:tx>
                <c:rich>
                  <a:bodyPr/>
                  <a:lstStyle/>
                  <a:p>
                    <a:r>
                      <a:t>$  2.13</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2.025649866705639</c:v>
                </c:pt>
                <c:pt idx="1">
                  <c:v>2.1267500412604403</c:v>
                </c:pt>
                <c:pt idx="2">
                  <c:v>3.1096037545274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1394719395285453</c:v>
                </c:pt>
                <c:pt idx="1">
                  <c:v>0.9976843272732543</c:v>
                </c:pt>
                <c:pt idx="2">
                  <c:v>1.04413678738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lmart</c:v>
                </c:pt>
                <c:pt idx="1">
                  <c:v>CVS Corp</c:v>
                </c:pt>
              </c:strCache>
            </c:strRef>
          </c:cat>
          <c:val>
            <c:numRef>
              <c:f>Sheet1!$B$2:$B$3</c:f>
              <c:numCache>
                <c:formatCode>General</c:formatCode>
                <c:ptCount val="2"/>
                <c:pt idx="0">
                  <c:v>28.381485</c:v>
                </c:pt>
                <c:pt idx="1">
                  <c:v>5.4803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65</a:t>
                    </a:r>
                  </a:p>
                </c:rich>
              </c:tx>
              <c:dLblPos val="t"/>
              <c:showLegendKey val="0"/>
              <c:showVal val="1"/>
              <c:showCatName val="0"/>
              <c:showSerName val="0"/>
              <c:showPercent val="0"/>
              <c:showBubbleSize val="0"/>
            </c:dLbl>
            <c:dLbl>
              <c:idx val="1"/>
              <c:tx>
                <c:rich>
                  <a:bodyPr/>
                  <a:lstStyle/>
                  <a:p>
                    <a:r>
                      <a:t>$  2.53</a:t>
                    </a:r>
                  </a:p>
                </c:rich>
              </c:tx>
              <c:dLblPos val="t"/>
              <c:showLegendKey val="0"/>
              <c:showVal val="1"/>
              <c:showCatName val="0"/>
              <c:showSerName val="0"/>
              <c:showPercent val="0"/>
              <c:showBubbleSize val="0"/>
            </c:dLbl>
            <c:dLbl>
              <c:idx val="2"/>
              <c:tx>
                <c:rich>
                  <a:bodyPr/>
                  <a:lstStyle/>
                  <a:p>
                    <a:r>
                      <a:t>$  19.6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lmart</c:v>
                </c:pt>
                <c:pt idx="1">
                  <c:v>CVS Corp</c:v>
                </c:pt>
              </c:strCache>
            </c:strRef>
          </c:cat>
          <c:val>
            <c:numRef>
              <c:f>Sheet1!$C$2:$C$3</c:f>
              <c:numCache>
                <c:formatCode>General</c:formatCode>
                <c:ptCount val="2"/>
                <c:pt idx="0">
                  <c:v>1.650424578292935</c:v>
                </c:pt>
                <c:pt idx="1">
                  <c:v>2.52732914041480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25702</c:v>
                </c:pt>
                <c:pt idx="1">
                  <c:v>0.035706</c:v>
                </c:pt>
                <c:pt idx="2">
                  <c:v>0.02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19889</c:v>
                </c:pt>
                <c:pt idx="1">
                  <c:v>0.000244</c:v>
                </c:pt>
                <c:pt idx="2">
                  <c:v>1.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12146</c:v>
                </c:pt>
                <c:pt idx="2">
                  <c:v>0.012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lmart</c:v>
                </c:pt>
                <c:pt idx="1">
                  <c:v>CVS Corp</c:v>
                </c:pt>
              </c:strCache>
            </c:strRef>
          </c:cat>
          <c:val>
            <c:numRef>
              <c:f>Sheet1!$B$2:$B$3</c:f>
              <c:numCache>
                <c:formatCode>General</c:formatCode>
                <c:ptCount val="2"/>
                <c:pt idx="0">
                  <c:v>1.0603490480446738</c:v>
                </c:pt>
                <c:pt idx="1">
                  <c:v>0.96341275184892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81.312277</c:v>
                </c:pt>
                <c:pt idx="1">
                  <c:v>45.694308</c:v>
                </c:pt>
                <c:pt idx="2">
                  <c:v>26.2800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04</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4.962937520191315</c:v>
                </c:pt>
                <c:pt idx="1">
                  <c:v>3.0445818282319466</c:v>
                </c:pt>
                <c:pt idx="2">
                  <c:v>6.43763058059417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578591510456843</c:v>
                </c:pt>
                <c:pt idx="1">
                  <c:v>1.0599433177477513</c:v>
                </c:pt>
                <c:pt idx="2">
                  <c:v>0.89278805566945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6.913996</c:v>
                </c:pt>
                <c:pt idx="1">
                  <c:v>51.375388</c:v>
                </c:pt>
                <c:pt idx="2">
                  <c:v>25.3037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2</a:t>
                    </a:r>
                  </a:p>
                </c:rich>
              </c:tx>
              <c:dLblPos val="t"/>
              <c:showLegendKey val="0"/>
              <c:showVal val="1"/>
              <c:showCatName val="0"/>
              <c:showSerName val="0"/>
              <c:showPercent val="0"/>
              <c:showBubbleSize val="0"/>
            </c:dLbl>
            <c:dLbl>
              <c:idx val="1"/>
              <c:tx>
                <c:rich>
                  <a:bodyPr/>
                  <a:lstStyle/>
                  <a:p>
                    <a:r>
                      <a:t>$  2.75</a:t>
                    </a:r>
                  </a:p>
                </c:rich>
              </c:tx>
              <c:dLblPos val="t"/>
              <c:showLegendKey val="0"/>
              <c:showVal val="1"/>
              <c:showCatName val="0"/>
              <c:showSerName val="0"/>
              <c:showPercent val="0"/>
              <c:showBubbleSize val="0"/>
            </c:dLbl>
            <c:dLbl>
              <c:idx val="2"/>
              <c:tx>
                <c:rich>
                  <a:bodyPr/>
                  <a:lstStyle/>
                  <a:p>
                    <a:r>
                      <a:t>$  4.28</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3.0177204598179888</c:v>
                </c:pt>
                <c:pt idx="1">
                  <c:v>2.7543558300627558</c:v>
                </c:pt>
                <c:pt idx="2">
                  <c:v>4.2818336728961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913157731506417</c:v>
                </c:pt>
                <c:pt idx="1">
                  <c:v>1.2313476625087416</c:v>
                </c:pt>
                <c:pt idx="2">
                  <c:v>0.99201114306289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62815</c:v>
                </c:pt>
                <c:pt idx="1">
                  <c:v>0.97343</c:v>
                </c:pt>
                <c:pt idx="2">
                  <c:v>0.4681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2278</c:v>
                </c:pt>
                <c:pt idx="1">
                  <c:v>0.000323</c:v>
                </c:pt>
                <c:pt idx="2">
                  <c:v>2.2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616</c:v>
                </c:pt>
                <c:pt idx="2">
                  <c:v>0.0064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40.195578</c:v>
                </c:pt>
                <c:pt idx="1">
                  <c:v>19.896189</c:v>
                </c:pt>
                <c:pt idx="2">
                  <c:v>6.4098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3</a:t>
                    </a:r>
                  </a:p>
                </c:rich>
              </c:tx>
              <c:dLblPos val="t"/>
              <c:showLegendKey val="0"/>
              <c:showVal val="1"/>
              <c:showCatName val="0"/>
              <c:showSerName val="0"/>
              <c:showPercent val="0"/>
              <c:showBubbleSize val="0"/>
            </c:dLbl>
            <c:dLbl>
              <c:idx val="1"/>
              <c:tx>
                <c:rich>
                  <a:bodyPr/>
                  <a:lstStyle/>
                  <a:p>
                    <a:r>
                      <a:t>$  2.13</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2.025649866705639</c:v>
                </c:pt>
                <c:pt idx="1">
                  <c:v>2.1267500412604403</c:v>
                </c:pt>
                <c:pt idx="2">
                  <c:v>3.1096037545274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1394719395285453</c:v>
                </c:pt>
                <c:pt idx="1">
                  <c:v>0.9976843272732543</c:v>
                </c:pt>
                <c:pt idx="2">
                  <c:v>1.04413678738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81.312277</c:v>
                </c:pt>
                <c:pt idx="1">
                  <c:v>45.694308</c:v>
                </c:pt>
                <c:pt idx="2">
                  <c:v>26.2800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04</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4.962937520191315</c:v>
                </c:pt>
                <c:pt idx="1">
                  <c:v>3.0445818282319466</c:v>
                </c:pt>
                <c:pt idx="2">
                  <c:v>6.43763058059417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578591510456843</c:v>
                </c:pt>
                <c:pt idx="1">
                  <c:v>1.0599433177477513</c:v>
                </c:pt>
                <c:pt idx="2">
                  <c:v>0.89278805566945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6.913996</c:v>
                </c:pt>
                <c:pt idx="1">
                  <c:v>51.375388</c:v>
                </c:pt>
                <c:pt idx="2">
                  <c:v>25.3037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2</a:t>
                    </a:r>
                  </a:p>
                </c:rich>
              </c:tx>
              <c:dLblPos val="t"/>
              <c:showLegendKey val="0"/>
              <c:showVal val="1"/>
              <c:showCatName val="0"/>
              <c:showSerName val="0"/>
              <c:showPercent val="0"/>
              <c:showBubbleSize val="0"/>
            </c:dLbl>
            <c:dLbl>
              <c:idx val="1"/>
              <c:tx>
                <c:rich>
                  <a:bodyPr/>
                  <a:lstStyle/>
                  <a:p>
                    <a:r>
                      <a:t>$  2.75</a:t>
                    </a:r>
                  </a:p>
                </c:rich>
              </c:tx>
              <c:dLblPos val="t"/>
              <c:showLegendKey val="0"/>
              <c:showVal val="1"/>
              <c:showCatName val="0"/>
              <c:showSerName val="0"/>
              <c:showPercent val="0"/>
              <c:showBubbleSize val="0"/>
            </c:dLbl>
            <c:dLbl>
              <c:idx val="2"/>
              <c:tx>
                <c:rich>
                  <a:bodyPr/>
                  <a:lstStyle/>
                  <a:p>
                    <a:r>
                      <a:t>$  4.28</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3.0177204598179888</c:v>
                </c:pt>
                <c:pt idx="1">
                  <c:v>2.7543558300627558</c:v>
                </c:pt>
                <c:pt idx="2">
                  <c:v>4.2818336728961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913157731506417</c:v>
                </c:pt>
                <c:pt idx="1">
                  <c:v>1.2313476625087416</c:v>
                </c:pt>
                <c:pt idx="2">
                  <c:v>0.99201114306289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mazon</c:v>
                </c:pt>
                <c:pt idx="1">
                  <c:v>Walmart</c:v>
                </c:pt>
                <c:pt idx="2">
                  <c:v>CVS Corp</c:v>
                </c:pt>
              </c:strCache>
            </c:strRef>
          </c:cat>
          <c:val>
            <c:numRef>
              <c:f>Sheet1!$B$2:$B$4</c:f>
              <c:numCache>
                <c:formatCode>General</c:formatCode>
                <c:ptCount val="3"/>
                <c:pt idx="0">
                  <c:v>6.056051</c:v>
                </c:pt>
                <c:pt idx="1">
                  <c:v>4.479365</c:v>
                </c:pt>
                <c:pt idx="2">
                  <c:v>0.7821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65</a:t>
                    </a:r>
                  </a:p>
                </c:rich>
              </c:tx>
              <c:dLblPos val="t"/>
              <c:showLegendKey val="0"/>
              <c:showVal val="1"/>
              <c:showCatName val="0"/>
              <c:showSerName val="0"/>
              <c:showPercent val="0"/>
              <c:showBubbleSize val="0"/>
            </c:dLbl>
            <c:dLbl>
              <c:idx val="1"/>
              <c:tx>
                <c:rich>
                  <a:bodyPr/>
                  <a:lstStyle/>
                  <a:p>
                    <a:r>
                      <a:t>$  3.39</a:t>
                    </a:r>
                  </a:p>
                </c:rich>
              </c:tx>
              <c:dLblPos val="t"/>
              <c:showLegendKey val="0"/>
              <c:showVal val="1"/>
              <c:showCatName val="0"/>
              <c:showSerName val="0"/>
              <c:showPercent val="0"/>
              <c:showBubbleSize val="0"/>
            </c:dLbl>
            <c:dLbl>
              <c:idx val="2"/>
              <c:tx>
                <c:rich>
                  <a:bodyPr/>
                  <a:lstStyle/>
                  <a:p>
                    <a:r>
                      <a:t>$  14.1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mazon</c:v>
                </c:pt>
                <c:pt idx="1">
                  <c:v>Walmart</c:v>
                </c:pt>
                <c:pt idx="2">
                  <c:v>CVS Corp</c:v>
                </c:pt>
              </c:strCache>
            </c:strRef>
          </c:cat>
          <c:val>
            <c:numRef>
              <c:f>Sheet1!$C$2:$C$4</c:f>
              <c:numCache>
                <c:formatCode>General</c:formatCode>
                <c:ptCount val="3"/>
                <c:pt idx="0">
                  <c:v>3.6548153718212246</c:v>
                </c:pt>
                <c:pt idx="1">
                  <c:v>3.3927181039288397</c:v>
                </c:pt>
                <c:pt idx="2">
                  <c:v>14.1335923382724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mazon</c:v>
                </c:pt>
                <c:pt idx="1">
                  <c:v>Walmart</c:v>
                </c:pt>
                <c:pt idx="2">
                  <c:v>CVS Corp</c:v>
                </c:pt>
              </c:strCache>
            </c:strRef>
          </c:cat>
          <c:val>
            <c:numRef>
              <c:f>Sheet1!$B$2:$B$4</c:f>
              <c:numCache>
                <c:formatCode>General</c:formatCode>
                <c:ptCount val="3"/>
                <c:pt idx="0">
                  <c:v>1.4553501330014444</c:v>
                </c:pt>
                <c:pt idx="1">
                  <c:v>2.5281379881747643</c:v>
                </c:pt>
                <c:pt idx="2">
                  <c:v>0.816996256340405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249.345801</c:v>
                </c:pt>
                <c:pt idx="1">
                  <c:v>78.104487</c:v>
                </c:pt>
                <c:pt idx="2">
                  <c:v>53.5489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3</a:t>
                    </a:r>
                  </a:p>
                </c:rich>
              </c:tx>
              <c:dLblPos val="t"/>
              <c:showLegendKey val="0"/>
              <c:showVal val="1"/>
              <c:showCatName val="0"/>
              <c:showSerName val="0"/>
              <c:showPercent val="0"/>
              <c:showBubbleSize val="0"/>
            </c:dLbl>
            <c:dLbl>
              <c:idx val="1"/>
              <c:tx>
                <c:rich>
                  <a:bodyPr/>
                  <a:lstStyle/>
                  <a:p>
                    <a:r>
                      <a:t>$  2.21</a:t>
                    </a:r>
                  </a:p>
                </c:rich>
              </c:tx>
              <c:dLblPos val="t"/>
              <c:showLegendKey val="0"/>
              <c:showVal val="1"/>
              <c:showCatName val="0"/>
              <c:showSerName val="0"/>
              <c:showPercent val="0"/>
              <c:showBubbleSize val="0"/>
            </c:dLbl>
            <c:dLbl>
              <c:idx val="2"/>
              <c:tx>
                <c:rich>
                  <a:bodyPr/>
                  <a:lstStyle/>
                  <a:p>
                    <a:r>
                      <a:t>$  3.8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42594392629701</c:v>
                </c:pt>
                <c:pt idx="1">
                  <c:v>2.210162649570744</c:v>
                </c:pt>
                <c:pt idx="2">
                  <c:v>3.847048673561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062284836600108</c:v>
                </c:pt>
                <c:pt idx="1">
                  <c:v>1.1937337530286578</c:v>
                </c:pt>
                <c:pt idx="2">
                  <c:v>0.93588063569202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169.558645</c:v>
                </c:pt>
                <c:pt idx="1">
                  <c:v>24.3428</c:v>
                </c:pt>
                <c:pt idx="2">
                  <c:v>22.69613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5</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1.18</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C$2:$C$4</c:f>
              <c:numCache>
                <c:formatCode>General</c:formatCode>
                <c:ptCount val="3"/>
                <c:pt idx="0">
                  <c:v>1.0482961033565403</c:v>
                </c:pt>
                <c:pt idx="1">
                  <c:v>2.4328088804699797</c:v>
                </c:pt>
                <c:pt idx="2">
                  <c:v>1.17713837036271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CVS Corp</c:v>
                </c:pt>
                <c:pt idx="2">
                  <c:v>Amazon</c:v>
                </c:pt>
              </c:strCache>
            </c:strRef>
          </c:cat>
          <c:val>
            <c:numRef>
              <c:f>Sheet1!$B$2:$B$4</c:f>
              <c:numCache>
                <c:formatCode>General</c:formatCode>
                <c:ptCount val="3"/>
                <c:pt idx="0">
                  <c:v>0.993817323697839</c:v>
                </c:pt>
                <c:pt idx="1">
                  <c:v>1.0464092303139718</c:v>
                </c:pt>
                <c:pt idx="2">
                  <c:v>1.19407334616733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6.913996</c:v>
                </c:pt>
                <c:pt idx="1">
                  <c:v>51.375388</c:v>
                </c:pt>
                <c:pt idx="2">
                  <c:v>25.3037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2</a:t>
                    </a:r>
                  </a:p>
                </c:rich>
              </c:tx>
              <c:dLblPos val="t"/>
              <c:showLegendKey val="0"/>
              <c:showVal val="1"/>
              <c:showCatName val="0"/>
              <c:showSerName val="0"/>
              <c:showPercent val="0"/>
              <c:showBubbleSize val="0"/>
            </c:dLbl>
            <c:dLbl>
              <c:idx val="1"/>
              <c:tx>
                <c:rich>
                  <a:bodyPr/>
                  <a:lstStyle/>
                  <a:p>
                    <a:r>
                      <a:t>$  2.75</a:t>
                    </a:r>
                  </a:p>
                </c:rich>
              </c:tx>
              <c:dLblPos val="t"/>
              <c:showLegendKey val="0"/>
              <c:showVal val="1"/>
              <c:showCatName val="0"/>
              <c:showSerName val="0"/>
              <c:showPercent val="0"/>
              <c:showBubbleSize val="0"/>
            </c:dLbl>
            <c:dLbl>
              <c:idx val="2"/>
              <c:tx>
                <c:rich>
                  <a:bodyPr/>
                  <a:lstStyle/>
                  <a:p>
                    <a:r>
                      <a:t>$  4.28</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3.0177204598179888</c:v>
                </c:pt>
                <c:pt idx="1">
                  <c:v>2.7543558300627558</c:v>
                </c:pt>
                <c:pt idx="2">
                  <c:v>4.28183367289612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913157731506417</c:v>
                </c:pt>
                <c:pt idx="1">
                  <c:v>1.2313476625087416</c:v>
                </c:pt>
                <c:pt idx="2">
                  <c:v>0.992011143062897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8.913328</c:v>
                </c:pt>
                <c:pt idx="1">
                  <c:v>31.266579</c:v>
                </c:pt>
                <c:pt idx="2">
                  <c:v>27.6295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7</a:t>
                    </a:r>
                  </a:p>
                </c:rich>
              </c:tx>
              <c:dLblPos val="t"/>
              <c:showLegendKey val="0"/>
              <c:showVal val="1"/>
              <c:showCatName val="0"/>
              <c:showSerName val="0"/>
              <c:showPercent val="0"/>
              <c:showBubbleSize val="0"/>
            </c:dLbl>
            <c:dLbl>
              <c:idx val="1"/>
              <c:tx>
                <c:rich>
                  <a:bodyPr/>
                  <a:lstStyle/>
                  <a:p>
                    <a:r>
                      <a:t>$  2.26</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866240262755373</c:v>
                </c:pt>
                <c:pt idx="1">
                  <c:v>2.2588201152492746</c:v>
                </c:pt>
                <c:pt idx="2">
                  <c:v>3.317129342826490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606166261711413</c:v>
                </c:pt>
                <c:pt idx="1">
                  <c:v>1.0590559598383176</c:v>
                </c:pt>
                <c:pt idx="2">
                  <c:v>1.047825106867986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940738</c:v>
                </c:pt>
                <c:pt idx="1">
                  <c:v>4.67808</c:v>
                </c:pt>
                <c:pt idx="2">
                  <c:v>2.98733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017183</c:v>
                </c:pt>
                <c:pt idx="1">
                  <c:v>2.45971</c:v>
                </c:pt>
                <c:pt idx="2">
                  <c:v>1.41816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45437</c:v>
                </c:pt>
                <c:pt idx="1">
                  <c:v>0.889919</c:v>
                </c:pt>
                <c:pt idx="2">
                  <c:v>0.64790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3944</c:v>
                </c:pt>
                <c:pt idx="1">
                  <c:v>0.028576</c:v>
                </c:pt>
                <c:pt idx="2">
                  <c:v>0.00420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e-06</c:v>
                </c:pt>
                <c:pt idx="1">
                  <c:v>2e-05</c:v>
                </c:pt>
                <c:pt idx="2">
                  <c:v>8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40.195578</c:v>
                </c:pt>
                <c:pt idx="1">
                  <c:v>19.896189</c:v>
                </c:pt>
                <c:pt idx="2">
                  <c:v>6.4098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3</a:t>
                    </a:r>
                  </a:p>
                </c:rich>
              </c:tx>
              <c:dLblPos val="t"/>
              <c:showLegendKey val="0"/>
              <c:showVal val="1"/>
              <c:showCatName val="0"/>
              <c:showSerName val="0"/>
              <c:showPercent val="0"/>
              <c:showBubbleSize val="0"/>
            </c:dLbl>
            <c:dLbl>
              <c:idx val="1"/>
              <c:tx>
                <c:rich>
                  <a:bodyPr/>
                  <a:lstStyle/>
                  <a:p>
                    <a:r>
                      <a:t>$  2.13</a:t>
                    </a:r>
                  </a:p>
                </c:rich>
              </c:tx>
              <c:dLblPos val="t"/>
              <c:showLegendKey val="0"/>
              <c:showVal val="1"/>
              <c:showCatName val="0"/>
              <c:showSerName val="0"/>
              <c:showPercent val="0"/>
              <c:showBubbleSize val="0"/>
            </c:dLbl>
            <c:dLbl>
              <c:idx val="2"/>
              <c:tx>
                <c:rich>
                  <a:bodyPr/>
                  <a:lstStyle/>
                  <a:p>
                    <a:r>
                      <a:t>$  3.11</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2.025649866705639</c:v>
                </c:pt>
                <c:pt idx="1">
                  <c:v>2.1267500412604403</c:v>
                </c:pt>
                <c:pt idx="2">
                  <c:v>3.1096037545274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1394719395285453</c:v>
                </c:pt>
                <c:pt idx="1">
                  <c:v>0.9976843272732543</c:v>
                </c:pt>
                <c:pt idx="2">
                  <c:v>1.044136787389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83.01849</c:v>
                </c:pt>
                <c:pt idx="1">
                  <c:v>20.590782</c:v>
                </c:pt>
                <c:pt idx="2">
                  <c:v>19.6025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46</a:t>
                    </a:r>
                  </a:p>
                </c:rich>
              </c:tx>
              <c:dLblPos val="t"/>
              <c:showLegendKey val="0"/>
              <c:showVal val="1"/>
              <c:showCatName val="0"/>
              <c:showSerName val="0"/>
              <c:showPercent val="0"/>
              <c:showBubbleSize val="0"/>
            </c:dLbl>
            <c:dLbl>
              <c:idx val="1"/>
              <c:tx>
                <c:rich>
                  <a:bodyPr/>
                  <a:lstStyle/>
                  <a:p>
                    <a:r>
                      <a:t>$  2.58</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2.4564002477275295</c:v>
                </c:pt>
                <c:pt idx="1">
                  <c:v>2.584611039598026</c:v>
                </c:pt>
                <c:pt idx="2">
                  <c:v>3.3188434603747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0.3</a:t>
                    </a:r>
                  </a:p>
                </c:rich>
              </c:tx>
              <c:showLegendKey val="0"/>
              <c:showVal val="1"/>
              <c:showCatName val="0"/>
              <c:showSerName val="0"/>
              <c:showPercent val="0"/>
              <c:showBubbleSize val="0"/>
            </c:dLbl>
            <c:dLbl>
              <c:idx val="1"/>
              <c:tx>
                <c:rich>
                  <a:bodyPr/>
                  <a:lstStyle/>
                  <a:p>
                    <a:r>
                      <a:rPr>
                        <a:solidFill>
                          <a:srgbClr val="FFFFFF"/>
                        </a:solidFill>
                      </a:rPr>
                      <a:t>10.5</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257031</c:v>
                </c:pt>
                <c:pt idx="1">
                  <c:v>10.470345</c:v>
                </c:pt>
                <c:pt idx="2">
                  <c:v>6.8235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669379</c:v>
                </c:pt>
                <c:pt idx="1">
                  <c:v>3.274787</c:v>
                </c:pt>
                <c:pt idx="2">
                  <c:v>1.8173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30456</c:v>
                </c:pt>
                <c:pt idx="1">
                  <c:v>0.981099</c:v>
                </c:pt>
                <c:pt idx="2">
                  <c:v>0.7175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44761</c:v>
                </c:pt>
                <c:pt idx="1">
                  <c:v>0.056275</c:v>
                </c:pt>
                <c:pt idx="2">
                  <c:v>0.00359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e-06</c:v>
                </c:pt>
                <c:pt idx="1">
                  <c:v>1.6e-05</c:v>
                </c:pt>
                <c:pt idx="2">
                  <c:v>1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798573798842904</c:v>
                </c:pt>
                <c:pt idx="1">
                  <c:v>1.1960986474955813</c:v>
                </c:pt>
                <c:pt idx="2">
                  <c:v>1.07889596537066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81.405202</c:v>
                </c:pt>
                <c:pt idx="1">
                  <c:v>97.455356</c:v>
                </c:pt>
                <c:pt idx="2">
                  <c:v>51.5839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5</a:t>
                    </a:r>
                  </a:p>
                </c:rich>
              </c:tx>
              <c:dLblPos val="t"/>
              <c:showLegendKey val="0"/>
              <c:showVal val="1"/>
              <c:showCatName val="0"/>
              <c:showSerName val="0"/>
              <c:showPercent val="0"/>
              <c:showBubbleSize val="0"/>
            </c:dLbl>
            <c:dLbl>
              <c:idx val="1"/>
              <c:tx>
                <c:rich>
                  <a:bodyPr/>
                  <a:lstStyle/>
                  <a:p>
                    <a:r>
                      <a:t>$  2.88</a:t>
                    </a:r>
                  </a:p>
                </c:rich>
              </c:tx>
              <c:dLblPos val="t"/>
              <c:showLegendKey val="0"/>
              <c:showVal val="1"/>
              <c:showCatName val="0"/>
              <c:showSerName val="0"/>
              <c:showPercent val="0"/>
              <c:showBubbleSize val="0"/>
            </c:dLbl>
            <c:dLbl>
              <c:idx val="2"/>
              <c:tx>
                <c:rich>
                  <a:bodyPr/>
                  <a:lstStyle/>
                  <a:p>
                    <a:r>
                      <a:t>$  5.16</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3.5545987066216926</c:v>
                </c:pt>
                <c:pt idx="1">
                  <c:v>2.8782769870818687</c:v>
                </c:pt>
                <c:pt idx="2">
                  <c:v>5.16256437072936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121499933369633</c:v>
                </c:pt>
                <c:pt idx="1">
                  <c:v>1.1410099306547616</c:v>
                </c:pt>
                <c:pt idx="2">
                  <c:v>0.93720123210526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81.312277</c:v>
                </c:pt>
                <c:pt idx="1">
                  <c:v>45.694308</c:v>
                </c:pt>
                <c:pt idx="2">
                  <c:v>26.2800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04</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4.962937520191315</c:v>
                </c:pt>
                <c:pt idx="1">
                  <c:v>3.0445818282319466</c:v>
                </c:pt>
                <c:pt idx="2">
                  <c:v>6.43763058059417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578591510456843</c:v>
                </c:pt>
                <c:pt idx="1">
                  <c:v>1.0599433177477513</c:v>
                </c:pt>
                <c:pt idx="2">
                  <c:v>0.892788055669456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84629</c:v>
                </c:pt>
                <c:pt idx="1">
                  <c:v>1.322648</c:v>
                </c:pt>
                <c:pt idx="2">
                  <c:v>0.7264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23777</c:v>
                </c:pt>
                <c:pt idx="1">
                  <c:v>0.555067</c:v>
                </c:pt>
                <c:pt idx="2">
                  <c:v>0.35970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6035</c:v>
                </c:pt>
                <c:pt idx="1">
                  <c:v>0.578617</c:v>
                </c:pt>
                <c:pt idx="2">
                  <c:v>0.3040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57159</c:v>
                </c:pt>
                <c:pt idx="2">
                  <c:v>0.0368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8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37.349224</c:v>
                </c:pt>
                <c:pt idx="1">
                  <c:v>7.363447</c:v>
                </c:pt>
                <c:pt idx="2">
                  <c:v>4.12856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44</a:t>
                    </a:r>
                  </a:p>
                </c:rich>
              </c:tx>
              <c:dLblPos val="t"/>
              <c:showLegendKey val="0"/>
              <c:showVal val="1"/>
              <c:showCatName val="0"/>
              <c:showSerName val="0"/>
              <c:showPercent val="0"/>
              <c:showBubbleSize val="0"/>
            </c:dLbl>
            <c:dLbl>
              <c:idx val="1"/>
              <c:tx>
                <c:rich>
                  <a:bodyPr/>
                  <a:lstStyle/>
                  <a:p>
                    <a:r>
                      <a:t>$  0.82</a:t>
                    </a:r>
                  </a:p>
                </c:rich>
              </c:tx>
              <c:dLblPos val="t"/>
              <c:showLegendKey val="0"/>
              <c:showVal val="1"/>
              <c:showCatName val="0"/>
              <c:showSerName val="0"/>
              <c:showPercent val="0"/>
              <c:showBubbleSize val="0"/>
            </c:dLbl>
            <c:dLbl>
              <c:idx val="2"/>
              <c:tx>
                <c:rich>
                  <a:bodyPr/>
                  <a:lstStyle/>
                  <a:p>
                    <a:r>
                      <a:t>$  2.33</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0.43677374550506914</c:v>
                </c:pt>
                <c:pt idx="1">
                  <c:v>0.8220676084163538</c:v>
                </c:pt>
                <c:pt idx="2">
                  <c:v>2.32724057634106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844151240117608</c:v>
                </c:pt>
                <c:pt idx="1">
                  <c:v>1.243434623001114</c:v>
                </c:pt>
                <c:pt idx="2">
                  <c:v>1.116242167374315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98.913328</c:v>
                </c:pt>
                <c:pt idx="1">
                  <c:v>31.266579</c:v>
                </c:pt>
                <c:pt idx="2">
                  <c:v>27.6295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7</a:t>
                    </a:r>
                  </a:p>
                </c:rich>
              </c:tx>
              <c:dLblPos val="t"/>
              <c:showLegendKey val="0"/>
              <c:showVal val="1"/>
              <c:showCatName val="0"/>
              <c:showSerName val="0"/>
              <c:showPercent val="0"/>
              <c:showBubbleSize val="0"/>
            </c:dLbl>
            <c:dLbl>
              <c:idx val="1"/>
              <c:tx>
                <c:rich>
                  <a:bodyPr/>
                  <a:lstStyle/>
                  <a:p>
                    <a:r>
                      <a:t>$  2.26</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866240262755373</c:v>
                </c:pt>
                <c:pt idx="1">
                  <c:v>2.2588201152492746</c:v>
                </c:pt>
                <c:pt idx="2">
                  <c:v>3.317129342826490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0.9606166261711413</c:v>
                </c:pt>
                <c:pt idx="1">
                  <c:v>1.0590559598383176</c:v>
                </c:pt>
                <c:pt idx="2">
                  <c:v>1.047825106867986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249.345801</c:v>
                </c:pt>
                <c:pt idx="1">
                  <c:v>78.104487</c:v>
                </c:pt>
                <c:pt idx="2">
                  <c:v>53.5489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3</a:t>
                    </a:r>
                  </a:p>
                </c:rich>
              </c:tx>
              <c:dLblPos val="t"/>
              <c:showLegendKey val="0"/>
              <c:showVal val="1"/>
              <c:showCatName val="0"/>
              <c:showSerName val="0"/>
              <c:showPercent val="0"/>
              <c:showBubbleSize val="0"/>
            </c:dLbl>
            <c:dLbl>
              <c:idx val="1"/>
              <c:tx>
                <c:rich>
                  <a:bodyPr/>
                  <a:lstStyle/>
                  <a:p>
                    <a:r>
                      <a:t>$  2.21</a:t>
                    </a:r>
                  </a:p>
                </c:rich>
              </c:tx>
              <c:dLblPos val="t"/>
              <c:showLegendKey val="0"/>
              <c:showVal val="1"/>
              <c:showCatName val="0"/>
              <c:showSerName val="0"/>
              <c:showPercent val="0"/>
              <c:showBubbleSize val="0"/>
            </c:dLbl>
            <c:dLbl>
              <c:idx val="2"/>
              <c:tx>
                <c:rich>
                  <a:bodyPr/>
                  <a:lstStyle/>
                  <a:p>
                    <a:r>
                      <a:t>$  3.85</a:t>
                    </a:r>
                  </a:p>
                </c:rich>
              </c:tx>
              <c:dLblPos val="t"/>
              <c:showLegendKey val="0"/>
              <c:showVal val="1"/>
              <c:showCatName val="0"/>
              <c:showSerName val="0"/>
              <c:showPercent val="0"/>
              <c:showBubbleSize val="0"/>
            </c:dLbl>
            <c:dLbl>
              <c:idx val="3"/>
              <c:tx>
                <c:rich>
                  <a:bodyPr/>
                  <a:lstStyle/>
                  <a:p>
                    <a:r>
                      <a:t>$  20.13</a:t>
                    </a:r>
                  </a:p>
                </c:rich>
              </c:tx>
              <c:dLblPos val="t"/>
              <c:showLegendKey val="0"/>
              <c:showVal val="1"/>
              <c:showCatName val="0"/>
              <c:showSerName val="0"/>
              <c:showPercent val="0"/>
              <c:showBubbleSize val="0"/>
            </c:dLbl>
            <c:dLbl>
              <c:idx val="4"/>
              <c:tx>
                <c:rich>
                  <a:bodyPr/>
                  <a:lstStyle/>
                  <a:p>
                    <a:r>
                      <a:t>$  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C$2:$C$4</c:f>
              <c:numCache>
                <c:formatCode>General</c:formatCode>
                <c:ptCount val="3"/>
                <c:pt idx="0">
                  <c:v>1.42594392629701</c:v>
                </c:pt>
                <c:pt idx="1">
                  <c:v>2.210162649570744</c:v>
                </c:pt>
                <c:pt idx="2">
                  <c:v>3.847048673561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659358</c:v>
                </c:pt>
                <c:pt idx="1">
                  <c:v>4.094291</c:v>
                </c:pt>
                <c:pt idx="2">
                  <c:v>2.424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816314</c:v>
                </c:pt>
                <c:pt idx="1">
                  <c:v>1.065274</c:v>
                </c:pt>
                <c:pt idx="2">
                  <c:v>0.63907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29985</c:v>
                </c:pt>
                <c:pt idx="1">
                  <c:v>0.77041</c:v>
                </c:pt>
                <c:pt idx="2">
                  <c:v>0.4301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215366</c:v>
                </c:pt>
                <c:pt idx="2">
                  <c:v>0.13904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1e-05</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lmart</c:v>
                </c:pt>
                <c:pt idx="1">
                  <c:v>Amazon</c:v>
                </c:pt>
                <c:pt idx="2">
                  <c:v>CVS Corp</c:v>
                </c:pt>
              </c:strCache>
            </c:strRef>
          </c:cat>
          <c:val>
            <c:numRef>
              <c:f>Sheet1!$B$2:$B$4</c:f>
              <c:numCache>
                <c:formatCode>General</c:formatCode>
                <c:ptCount val="3"/>
                <c:pt idx="0">
                  <c:v>1.0062284836600108</c:v>
                </c:pt>
                <c:pt idx="1">
                  <c:v>1.1937337530286578</c:v>
                </c:pt>
                <c:pt idx="2">
                  <c:v>0.935880635692024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136.246761</c:v>
                </c:pt>
                <c:pt idx="1">
                  <c:v>24.3428</c:v>
                </c:pt>
                <c:pt idx="2">
                  <c:v>24.322477</c:v>
                </c:pt>
                <c:pt idx="3">
                  <c:v>18.443142</c:v>
                </c:pt>
                <c:pt idx="4">
                  <c:v>8.989407</c:v>
                </c:pt>
                <c:pt idx="5">
                  <c:v>4.2529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1.03</a:t>
                    </a:r>
                  </a:p>
                </c:rich>
              </c:tx>
              <c:dLblPos val="t"/>
              <c:showLegendKey val="0"/>
              <c:showVal val="1"/>
              <c:showCatName val="0"/>
              <c:showSerName val="0"/>
              <c:showPercent val="0"/>
              <c:showBubbleSize val="0"/>
            </c:dLbl>
            <c:dLbl>
              <c:idx val="3"/>
              <c:tx>
                <c:rich>
                  <a:bodyPr/>
                  <a:lstStyle/>
                  <a:p>
                    <a:r>
                      <a:t>$  1.10</a:t>
                    </a:r>
                  </a:p>
                </c:rich>
              </c:tx>
              <c:dLblPos val="t"/>
              <c:showLegendKey val="0"/>
              <c:showVal val="1"/>
              <c:showCatName val="0"/>
              <c:showSerName val="0"/>
              <c:showPercent val="0"/>
              <c:showBubbleSize val="0"/>
            </c:dLbl>
            <c:dLbl>
              <c:idx val="4"/>
              <c:tx>
                <c:rich>
                  <a:bodyPr/>
                  <a:lstStyle/>
                  <a:p>
                    <a:r>
                      <a:t>$  0.97</a:t>
                    </a:r>
                  </a:p>
                </c:rich>
              </c:tx>
              <c:dLblPos val="t"/>
              <c:showLegendKey val="0"/>
              <c:showVal val="1"/>
              <c:showCatName val="0"/>
              <c:showSerName val="0"/>
              <c:showPercent val="0"/>
              <c:showBubbleSize val="0"/>
            </c:dLbl>
            <c:dLbl>
              <c:idx val="5"/>
              <c:tx>
                <c:rich>
                  <a:bodyPr/>
                  <a:lstStyle/>
                  <a:p>
                    <a:r>
                      <a:t>$  1.7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C$2:$C$7</c:f>
              <c:numCache>
                <c:formatCode>General</c:formatCode>
                <c:ptCount val="6"/>
                <c:pt idx="0">
                  <c:v>1.058245426517648</c:v>
                </c:pt>
                <c:pt idx="1">
                  <c:v>2.4328088804699797</c:v>
                </c:pt>
                <c:pt idx="2">
                  <c:v>1.0259789634989473</c:v>
                </c:pt>
                <c:pt idx="3">
                  <c:v>1.0982649892990999</c:v>
                </c:pt>
                <c:pt idx="4">
                  <c:v>0.9673825303295506</c:v>
                </c:pt>
                <c:pt idx="5">
                  <c:v>1.70954650896840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0.9959837398956418</c:v>
                </c:pt>
                <c:pt idx="1">
                  <c:v>1.0464092303139718</c:v>
                </c:pt>
                <c:pt idx="2">
                  <c:v>0.9809276194311005</c:v>
                </c:pt>
                <c:pt idx="3">
                  <c:v>1.1930203896048703</c:v>
                </c:pt>
                <c:pt idx="4">
                  <c:v>0.9963941232588693</c:v>
                </c:pt>
                <c:pt idx="5">
                  <c:v>1.198661093007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2.734921</c:v>
                </c:pt>
                <c:pt idx="1">
                  <c:v>0.389528</c:v>
                </c:pt>
                <c:pt idx="2">
                  <c:v>0.257585</c:v>
                </c:pt>
                <c:pt idx="3">
                  <c:v>0.128075</c:v>
                </c:pt>
                <c:pt idx="4">
                  <c:v>0.05448</c:v>
                </c:pt>
                <c:pt idx="5">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5</a:t>
                    </a:r>
                  </a:p>
                </c:rich>
              </c:tx>
              <c:dLblPos val="t"/>
              <c:showLegendKey val="0"/>
              <c:showVal val="1"/>
              <c:showCatName val="0"/>
              <c:showSerName val="0"/>
              <c:showPercent val="0"/>
              <c:showBubbleSize val="0"/>
            </c:dLbl>
            <c:dLbl>
              <c:idx val="1"/>
              <c:tx>
                <c:rich>
                  <a:bodyPr/>
                  <a:lstStyle/>
                  <a:p>
                    <a:r>
                      <a:t>$  1.25</a:t>
                    </a:r>
                  </a:p>
                </c:rich>
              </c:tx>
              <c:dLblPos val="t"/>
              <c:showLegendKey val="0"/>
              <c:showVal val="1"/>
              <c:showCatName val="0"/>
              <c:showSerName val="0"/>
              <c:showPercent val="0"/>
              <c:showBubbleSize val="0"/>
            </c:dLbl>
            <c:dLbl>
              <c:idx val="2"/>
              <c:tx>
                <c:rich>
                  <a:bodyPr/>
                  <a:lstStyle/>
                  <a:p>
                    <a:r>
                      <a:t>$  2.05</a:t>
                    </a:r>
                  </a:p>
                </c:rich>
              </c:tx>
              <c:dLblPos val="t"/>
              <c:showLegendKey val="0"/>
              <c:showVal val="1"/>
              <c:showCatName val="0"/>
              <c:showSerName val="0"/>
              <c:showPercent val="0"/>
              <c:showBubbleSize val="0"/>
            </c:dLbl>
            <c:dLbl>
              <c:idx val="3"/>
              <c:tx>
                <c:rich>
                  <a:bodyPr/>
                  <a:lstStyle/>
                  <a:p>
                    <a:r>
                      <a:t>$  1.76</a:t>
                    </a:r>
                  </a:p>
                </c:rich>
              </c:tx>
              <c:dLblPos val="t"/>
              <c:showLegendKey val="0"/>
              <c:showVal val="1"/>
              <c:showCatName val="0"/>
              <c:showSerName val="0"/>
              <c:showPercent val="0"/>
              <c:showBubbleSize val="0"/>
            </c:dLbl>
            <c:dLbl>
              <c:idx val="4"/>
              <c:tx>
                <c:rich>
                  <a:bodyPr/>
                  <a:lstStyle/>
                  <a:p>
                    <a:r>
                      <a:t>$  1.34</a:t>
                    </a:r>
                  </a:p>
                </c:rich>
              </c:tx>
              <c:dLblPos val="t"/>
              <c:showLegendKey val="0"/>
              <c:showVal val="1"/>
              <c:showCatName val="0"/>
              <c:showSerName val="0"/>
              <c:showPercent val="0"/>
              <c:showBubbleSize val="0"/>
            </c:dLbl>
            <c:dLbl>
              <c:idx val="5"/>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C$2:$C$7</c:f>
              <c:numCache>
                <c:formatCode>General</c:formatCode>
                <c:ptCount val="6"/>
                <c:pt idx="0">
                  <c:v>1.2528050359178355</c:v>
                </c:pt>
                <c:pt idx="1">
                  <c:v>1.2505674503420754</c:v>
                </c:pt>
                <c:pt idx="2">
                  <c:v>2.0523556455018444</c:v>
                </c:pt>
                <c:pt idx="3">
                  <c:v>1.7641670569437176</c:v>
                </c:pt>
                <c:pt idx="4">
                  <c:v>1.3432283833427845</c:v>
                </c:pt>
                <c:pt idx="5">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0.6953474193348269</c:v>
                </c:pt>
                <c:pt idx="1">
                  <c:v>0.655669492267191</c:v>
                </c:pt>
                <c:pt idx="2">
                  <c:v>1.443959234926116</c:v>
                </c:pt>
                <c:pt idx="3">
                  <c:v>0.3201370784101504</c:v>
                </c:pt>
                <c:pt idx="4">
                  <c:v>0.7525381587126183</c:v>
                </c:pt>
                <c:pt idx="5">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B$2:$B$7</c:f>
              <c:numCache>
                <c:formatCode>General</c:formatCode>
                <c:ptCount val="6"/>
                <c:pt idx="0">
                  <c:v>29.70118</c:v>
                </c:pt>
                <c:pt idx="1">
                  <c:v>5.486285</c:v>
                </c:pt>
                <c:pt idx="2">
                  <c:v>5.48079</c:v>
                </c:pt>
                <c:pt idx="3">
                  <c:v>4.128569</c:v>
                </c:pt>
                <c:pt idx="4">
                  <c:v>2.167254</c:v>
                </c:pt>
                <c:pt idx="5">
                  <c:v>1.87716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44</a:t>
                    </a:r>
                  </a:p>
                </c:rich>
              </c:tx>
              <c:dLblPos val="t"/>
              <c:showLegendKey val="0"/>
              <c:showVal val="1"/>
              <c:showCatName val="0"/>
              <c:showSerName val="0"/>
              <c:showPercent val="0"/>
              <c:showBubbleSize val="0"/>
            </c:dLbl>
            <c:dLbl>
              <c:idx val="1"/>
              <c:tx>
                <c:rich>
                  <a:bodyPr/>
                  <a:lstStyle/>
                  <a:p>
                    <a:r>
                      <a:t>$  0.66</a:t>
                    </a:r>
                  </a:p>
                </c:rich>
              </c:tx>
              <c:dLblPos val="t"/>
              <c:showLegendKey val="0"/>
              <c:showVal val="1"/>
              <c:showCatName val="0"/>
              <c:showSerName val="0"/>
              <c:showPercent val="0"/>
              <c:showBubbleSize val="0"/>
            </c:dLbl>
            <c:dLbl>
              <c:idx val="2"/>
              <c:tx>
                <c:rich>
                  <a:bodyPr/>
                  <a:lstStyle/>
                  <a:p>
                    <a:r>
                      <a:t>$  0.42</a:t>
                    </a:r>
                  </a:p>
                </c:rich>
              </c:tx>
              <c:dLblPos val="t"/>
              <c:showLegendKey val="0"/>
              <c:showVal val="1"/>
              <c:showCatName val="0"/>
              <c:showSerName val="0"/>
              <c:showPercent val="0"/>
              <c:showBubbleSize val="0"/>
            </c:dLbl>
            <c:dLbl>
              <c:idx val="3"/>
              <c:tx>
                <c:rich>
                  <a:bodyPr/>
                  <a:lstStyle/>
                  <a:p>
                    <a:r>
                      <a:t>$  2.33</a:t>
                    </a:r>
                  </a:p>
                </c:rich>
              </c:tx>
              <c:dLblPos val="t"/>
              <c:showLegendKey val="0"/>
              <c:showVal val="1"/>
              <c:showCatName val="0"/>
              <c:showSerName val="0"/>
              <c:showPercent val="0"/>
              <c:showBubbleSize val="0"/>
            </c:dLbl>
            <c:dLbl>
              <c:idx val="4"/>
              <c:tx>
                <c:rich>
                  <a:bodyPr/>
                  <a:lstStyle/>
                  <a:p>
                    <a:r>
                      <a:t>$  0.40</a:t>
                    </a:r>
                  </a:p>
                </c:rich>
              </c:tx>
              <c:dLblPos val="t"/>
              <c:showLegendKey val="0"/>
              <c:showVal val="1"/>
              <c:showCatName val="0"/>
              <c:showSerName val="0"/>
              <c:showPercent val="0"/>
              <c:showBubbleSize val="0"/>
            </c:dLbl>
            <c:dLbl>
              <c:idx val="5"/>
              <c:tx>
                <c:rich>
                  <a:bodyPr/>
                  <a:lstStyle/>
                  <a:p>
                    <a:r>
                      <a:t>$  2.7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C$2:$C$7</c:f>
              <c:numCache>
                <c:formatCode>General</c:formatCode>
                <c:ptCount val="6"/>
                <c:pt idx="0">
                  <c:v>0.4428479622743118</c:v>
                </c:pt>
                <c:pt idx="1">
                  <c:v>0.6631795741631601</c:v>
                </c:pt>
                <c:pt idx="2">
                  <c:v>0.42055696121719266</c:v>
                </c:pt>
                <c:pt idx="3">
                  <c:v>2.3272405763410653</c:v>
                </c:pt>
                <c:pt idx="4">
                  <c:v>0.400541064416162</c:v>
                </c:pt>
                <c:pt idx="5">
                  <c:v>2.74226804123711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B$2:$B$7</c:f>
              <c:numCache>
                <c:formatCode>General</c:formatCode>
                <c:ptCount val="6"/>
                <c:pt idx="0">
                  <c:v>1.0793008603139653</c:v>
                </c:pt>
                <c:pt idx="1">
                  <c:v>1.6023435759027755</c:v>
                </c:pt>
                <c:pt idx="2">
                  <c:v>1.0984588318692332</c:v>
                </c:pt>
                <c:pt idx="3">
                  <c:v>1.1162421673743157</c:v>
                </c:pt>
                <c:pt idx="4">
                  <c:v>1.120966390466437</c:v>
                </c:pt>
                <c:pt idx="5">
                  <c:v>0.75148161611050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79.616315</c:v>
                </c:pt>
                <c:pt idx="1">
                  <c:v>28.641803</c:v>
                </c:pt>
                <c:pt idx="2">
                  <c:v>27.629591</c:v>
                </c:pt>
                <c:pt idx="3">
                  <c:v>14.039276</c:v>
                </c:pt>
                <c:pt idx="4">
                  <c:v>5.257737</c:v>
                </c:pt>
                <c:pt idx="5">
                  <c:v>2.62477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7</a:t>
                    </a:r>
                  </a:p>
                </c:rich>
              </c:tx>
              <c:dLblPos val="t"/>
              <c:showLegendKey val="0"/>
              <c:showVal val="1"/>
              <c:showCatName val="0"/>
              <c:showSerName val="0"/>
              <c:showPercent val="0"/>
              <c:showBubbleSize val="0"/>
            </c:dLbl>
            <c:dLbl>
              <c:idx val="1"/>
              <c:tx>
                <c:rich>
                  <a:bodyPr/>
                  <a:lstStyle/>
                  <a:p>
                    <a:r>
                      <a:t>$  2.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1.86</a:t>
                    </a:r>
                  </a:p>
                </c:rich>
              </c:tx>
              <c:dLblPos val="t"/>
              <c:showLegendKey val="0"/>
              <c:showVal val="1"/>
              <c:showCatName val="0"/>
              <c:showSerName val="0"/>
              <c:showPercent val="0"/>
              <c:showBubbleSize val="0"/>
            </c:dLbl>
            <c:dLbl>
              <c:idx val="4"/>
              <c:tx>
                <c:rich>
                  <a:bodyPr/>
                  <a:lstStyle/>
                  <a:p>
                    <a:r>
                      <a:t>$  1.88</a:t>
                    </a:r>
                  </a:p>
                </c:rich>
              </c:tx>
              <c:dLblPos val="t"/>
              <c:showLegendKey val="0"/>
              <c:showVal val="1"/>
              <c:showCatName val="0"/>
              <c:showSerName val="0"/>
              <c:showPercent val="0"/>
              <c:showBubbleSize val="0"/>
            </c:dLbl>
            <c:dLbl>
              <c:idx val="5"/>
              <c:tx>
                <c:rich>
                  <a:bodyPr/>
                  <a:lstStyle/>
                  <a:p>
                    <a:r>
                      <a:t>$  1.7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C$2:$C$7</c:f>
              <c:numCache>
                <c:formatCode>General</c:formatCode>
                <c:ptCount val="6"/>
                <c:pt idx="0">
                  <c:v>1.8671264625621473</c:v>
                </c:pt>
                <c:pt idx="1">
                  <c:v>2.3176379350789884</c:v>
                </c:pt>
                <c:pt idx="2">
                  <c:v>3.3171293428264907</c:v>
                </c:pt>
                <c:pt idx="3">
                  <c:v>1.856831442062681</c:v>
                </c:pt>
                <c:pt idx="4">
                  <c:v>1.8781536019272578</c:v>
                </c:pt>
                <c:pt idx="5">
                  <c:v>1.768944655275712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0.9629466685244342</c:v>
                </c:pt>
                <c:pt idx="1">
                  <c:v>1.051894118390649</c:v>
                </c:pt>
                <c:pt idx="2">
                  <c:v>1.0478251068679865</c:v>
                </c:pt>
                <c:pt idx="3">
                  <c:v>0.9364333722311176</c:v>
                </c:pt>
                <c:pt idx="4">
                  <c:v>0.9926976993674775</c:v>
                </c:pt>
                <c:pt idx="5">
                  <c:v>1.14405366047778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33.536443</c:v>
                </c:pt>
                <c:pt idx="1">
                  <c:v>10.944349</c:v>
                </c:pt>
                <c:pt idx="2">
                  <c:v>8.95184</c:v>
                </c:pt>
                <c:pt idx="3">
                  <c:v>6.40982</c:v>
                </c:pt>
                <c:pt idx="4">
                  <c:v>4.840828</c:v>
                </c:pt>
                <c:pt idx="5">
                  <c:v>1.8183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7</a:t>
                    </a:r>
                  </a:p>
                </c:rich>
              </c:tx>
              <c:dLblPos val="t"/>
              <c:showLegendKey val="0"/>
              <c:showVal val="1"/>
              <c:showCatName val="0"/>
              <c:showSerName val="0"/>
              <c:showPercent val="0"/>
              <c:showBubbleSize val="0"/>
            </c:dLbl>
            <c:dLbl>
              <c:idx val="1"/>
              <c:tx>
                <c:rich>
                  <a:bodyPr/>
                  <a:lstStyle/>
                  <a:p>
                    <a:r>
                      <a:t>$  2.01</a:t>
                    </a:r>
                  </a:p>
                </c:rich>
              </c:tx>
              <c:dLblPos val="t"/>
              <c:showLegendKey val="0"/>
              <c:showVal val="1"/>
              <c:showCatName val="0"/>
              <c:showSerName val="0"/>
              <c:showPercent val="0"/>
              <c:showBubbleSize val="0"/>
            </c:dLbl>
            <c:dLbl>
              <c:idx val="2"/>
              <c:tx>
                <c:rich>
                  <a:bodyPr/>
                  <a:lstStyle/>
                  <a:p>
                    <a:r>
                      <a:t>$  2.28</a:t>
                    </a:r>
                  </a:p>
                </c:rich>
              </c:tx>
              <c:dLblPos val="t"/>
              <c:showLegendKey val="0"/>
              <c:showVal val="1"/>
              <c:showCatName val="0"/>
              <c:showSerName val="0"/>
              <c:showPercent val="0"/>
              <c:showBubbleSize val="0"/>
            </c:dLbl>
            <c:dLbl>
              <c:idx val="3"/>
              <c:tx>
                <c:rich>
                  <a:bodyPr/>
                  <a:lstStyle/>
                  <a:p>
                    <a:r>
                      <a:t>$  3.11</a:t>
                    </a:r>
                  </a:p>
                </c:rich>
              </c:tx>
              <c:dLblPos val="t"/>
              <c:showLegendKey val="0"/>
              <c:showVal val="1"/>
              <c:showCatName val="0"/>
              <c:showSerName val="0"/>
              <c:showPercent val="0"/>
              <c:showBubbleSize val="0"/>
            </c:dLbl>
            <c:dLbl>
              <c:idx val="4"/>
              <c:tx>
                <c:rich>
                  <a:bodyPr/>
                  <a:lstStyle/>
                  <a:p>
                    <a:r>
                      <a:t>$  1.85</a:t>
                    </a:r>
                  </a:p>
                </c:rich>
              </c:tx>
              <c:dLblPos val="t"/>
              <c:showLegendKey val="0"/>
              <c:showVal val="1"/>
              <c:showCatName val="0"/>
              <c:showSerName val="0"/>
              <c:showPercent val="0"/>
              <c:showBubbleSize val="0"/>
            </c:dLbl>
            <c:dLbl>
              <c:idx val="5"/>
              <c:tx>
                <c:rich>
                  <a:bodyPr/>
                  <a:lstStyle/>
                  <a:p>
                    <a:r>
                      <a:t>$  1.7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C$2:$C$7</c:f>
              <c:numCache>
                <c:formatCode>General</c:formatCode>
                <c:ptCount val="6"/>
                <c:pt idx="0">
                  <c:v>2.072183717025598</c:v>
                </c:pt>
                <c:pt idx="1">
                  <c:v>2.0144854629984468</c:v>
                </c:pt>
                <c:pt idx="2">
                  <c:v>2.282245839390452</c:v>
                </c:pt>
                <c:pt idx="3">
                  <c:v>3.109603754527487</c:v>
                </c:pt>
                <c:pt idx="4">
                  <c:v>1.853232974707314</c:v>
                </c:pt>
                <c:pt idx="5">
                  <c:v>1.73652699757614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1.1607443562510515</c:v>
                </c:pt>
                <c:pt idx="1">
                  <c:v>0.9835700332735158</c:v>
                </c:pt>
                <c:pt idx="2">
                  <c:v>1.0155003839390617</c:v>
                </c:pt>
                <c:pt idx="3">
                  <c:v>1.04413678738921</c:v>
                </c:pt>
                <c:pt idx="4">
                  <c:v>1.0254796580906886</c:v>
                </c:pt>
                <c:pt idx="5">
                  <c:v>1.09346724542090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68.058485</c:v>
                </c:pt>
                <c:pt idx="1">
                  <c:v>19.602573</c:v>
                </c:pt>
                <c:pt idx="2">
                  <c:v>15.331294</c:v>
                </c:pt>
                <c:pt idx="3">
                  <c:v>10.87827</c:v>
                </c:pt>
                <c:pt idx="4">
                  <c:v>5.259488</c:v>
                </c:pt>
                <c:pt idx="5">
                  <c:v>4.0817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48</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2.48</a:t>
                    </a:r>
                  </a:p>
                </c:rich>
              </c:tx>
              <c:dLblPos val="t"/>
              <c:showLegendKey val="0"/>
              <c:showVal val="1"/>
              <c:showCatName val="0"/>
              <c:showSerName val="0"/>
              <c:showPercent val="0"/>
              <c:showBubbleSize val="0"/>
            </c:dLbl>
            <c:dLbl>
              <c:idx val="3"/>
              <c:tx>
                <c:rich>
                  <a:bodyPr/>
                  <a:lstStyle/>
                  <a:p>
                    <a:r>
                      <a:t>$  2.41</a:t>
                    </a:r>
                  </a:p>
                </c:rich>
              </c:tx>
              <c:dLblPos val="t"/>
              <c:showLegendKey val="0"/>
              <c:showVal val="1"/>
              <c:showCatName val="0"/>
              <c:showSerName val="0"/>
              <c:showPercent val="0"/>
              <c:showBubbleSize val="0"/>
            </c:dLbl>
            <c:dLbl>
              <c:idx val="4"/>
              <c:tx>
                <c:rich>
                  <a:bodyPr/>
                  <a:lstStyle/>
                  <a:p>
                    <a:r>
                      <a:t>$  2.94</a:t>
                    </a:r>
                  </a:p>
                </c:rich>
              </c:tx>
              <c:dLblPos val="t"/>
              <c:showLegendKey val="0"/>
              <c:showVal val="1"/>
              <c:showCatName val="0"/>
              <c:showSerName val="0"/>
              <c:showPercent val="0"/>
              <c:showBubbleSize val="0"/>
            </c:dLbl>
            <c:dLbl>
              <c:idx val="5"/>
              <c:tx>
                <c:rich>
                  <a:bodyPr/>
                  <a:lstStyle/>
                  <a:p>
                    <a:r>
                      <a:t>$  2.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C$2:$C$7</c:f>
              <c:numCache>
                <c:formatCode>General</c:formatCode>
                <c:ptCount val="6"/>
                <c:pt idx="0">
                  <c:v>2.478527538324894</c:v>
                </c:pt>
                <c:pt idx="1">
                  <c:v>3.31884346037474</c:v>
                </c:pt>
                <c:pt idx="2">
                  <c:v>2.482842464067411</c:v>
                </c:pt>
                <c:pt idx="3">
                  <c:v>2.4057042835201847</c:v>
                </c:pt>
                <c:pt idx="4">
                  <c:v>2.9353277645972824</c:v>
                </c:pt>
                <c:pt idx="5">
                  <c:v>2.24801908682201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0.9864316966720234</c:v>
                </c:pt>
                <c:pt idx="1">
                  <c:v>1.0788959653706645</c:v>
                </c:pt>
                <c:pt idx="2">
                  <c:v>1.1892170926879637</c:v>
                </c:pt>
                <c:pt idx="3">
                  <c:v>0.947346255345019</c:v>
                </c:pt>
                <c:pt idx="4">
                  <c:v>1.2166204683704558</c:v>
                </c:pt>
                <c:pt idx="5">
                  <c:v>0.960959260639571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54.874478</c:v>
                </c:pt>
                <c:pt idx="1">
                  <c:v>71.451948</c:v>
                </c:pt>
                <c:pt idx="2">
                  <c:v>51.583956</c:v>
                </c:pt>
                <c:pt idx="3">
                  <c:v>26.003408</c:v>
                </c:pt>
                <c:pt idx="4">
                  <c:v>19.635869</c:v>
                </c:pt>
                <c:pt idx="5">
                  <c:v>6.8948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4</a:t>
                    </a:r>
                  </a:p>
                </c:rich>
              </c:tx>
              <c:dLblPos val="t"/>
              <c:showLegendKey val="0"/>
              <c:showVal val="1"/>
              <c:showCatName val="0"/>
              <c:showSerName val="0"/>
              <c:showPercent val="0"/>
              <c:showBubbleSize val="0"/>
            </c:dLbl>
            <c:dLbl>
              <c:idx val="1"/>
              <c:tx>
                <c:rich>
                  <a:bodyPr/>
                  <a:lstStyle/>
                  <a:p>
                    <a:r>
                      <a:t>$  2.92</a:t>
                    </a:r>
                  </a:p>
                </c:rich>
              </c:tx>
              <c:dLblPos val="t"/>
              <c:showLegendKey val="0"/>
              <c:showVal val="1"/>
              <c:showCatName val="0"/>
              <c:showSerName val="0"/>
              <c:showPercent val="0"/>
              <c:showBubbleSize val="0"/>
            </c:dLbl>
            <c:dLbl>
              <c:idx val="2"/>
              <c:tx>
                <c:rich>
                  <a:bodyPr/>
                  <a:lstStyle/>
                  <a:p>
                    <a:r>
                      <a:t>$  5.16</a:t>
                    </a:r>
                  </a:p>
                </c:rich>
              </c:tx>
              <c:dLblPos val="t"/>
              <c:showLegendKey val="0"/>
              <c:showVal val="1"/>
              <c:showCatName val="0"/>
              <c:showSerName val="0"/>
              <c:showPercent val="0"/>
              <c:showBubbleSize val="0"/>
            </c:dLbl>
            <c:dLbl>
              <c:idx val="3"/>
              <c:tx>
                <c:rich>
                  <a:bodyPr/>
                  <a:lstStyle/>
                  <a:p>
                    <a:r>
                      <a:t>$  2.78</a:t>
                    </a:r>
                  </a:p>
                </c:rich>
              </c:tx>
              <c:dLblPos val="t"/>
              <c:showLegendKey val="0"/>
              <c:showVal val="1"/>
              <c:showCatName val="0"/>
              <c:showSerName val="0"/>
              <c:showPercent val="0"/>
              <c:showBubbleSize val="0"/>
            </c:dLbl>
            <c:dLbl>
              <c:idx val="4"/>
              <c:tx>
                <c:rich>
                  <a:bodyPr/>
                  <a:lstStyle/>
                  <a:p>
                    <a:r>
                      <a:t>$  3.65</a:t>
                    </a:r>
                  </a:p>
                </c:rich>
              </c:tx>
              <c:dLblPos val="t"/>
              <c:showLegendKey val="0"/>
              <c:showVal val="1"/>
              <c:showCatName val="0"/>
              <c:showSerName val="0"/>
              <c:showPercent val="0"/>
              <c:showBubbleSize val="0"/>
            </c:dLbl>
            <c:dLbl>
              <c:idx val="5"/>
              <c:tx>
                <c:rich>
                  <a:bodyPr/>
                  <a:lstStyle/>
                  <a:p>
                    <a:r>
                      <a:t>$  3.6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3.541070705411556</c:v>
                </c:pt>
                <c:pt idx="1">
                  <c:v>2.9152121127208557</c:v>
                </c:pt>
                <c:pt idx="2">
                  <c:v>5.162564370729364</c:v>
                </c:pt>
                <c:pt idx="3">
                  <c:v>2.7814439535482722</c:v>
                </c:pt>
                <c:pt idx="4">
                  <c:v>3.6490497930624106</c:v>
                </c:pt>
                <c:pt idx="5">
                  <c:v>3.59813164585499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213542532361426</c:v>
                </c:pt>
                <c:pt idx="1">
                  <c:v>1.135419139155194</c:v>
                </c:pt>
                <c:pt idx="2">
                  <c:v>0.937201232105267</c:v>
                </c:pt>
                <c:pt idx="3">
                  <c:v>1.15665964710758</c:v>
                </c:pt>
                <c:pt idx="4">
                  <c:v>0.9541092544015969</c:v>
                </c:pt>
                <c:pt idx="5">
                  <c:v>0.98345114313088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69.15786</c:v>
                </c:pt>
                <c:pt idx="1">
                  <c:v>31.855451</c:v>
                </c:pt>
                <c:pt idx="2">
                  <c:v>26.280011</c:v>
                </c:pt>
                <c:pt idx="3">
                  <c:v>13.838857</c:v>
                </c:pt>
                <c:pt idx="4">
                  <c:v>9.038227</c:v>
                </c:pt>
                <c:pt idx="5">
                  <c:v>3.1161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16</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81</a:t>
                    </a:r>
                  </a:p>
                </c:rich>
              </c:tx>
              <c:dLblPos val="t"/>
              <c:showLegendKey val="0"/>
              <c:showVal val="1"/>
              <c:showCatName val="0"/>
              <c:showSerName val="0"/>
              <c:showPercent val="0"/>
              <c:showBubbleSize val="0"/>
            </c:dLbl>
            <c:dLbl>
              <c:idx val="4"/>
              <c:tx>
                <c:rich>
                  <a:bodyPr/>
                  <a:lstStyle/>
                  <a:p>
                    <a:r>
                      <a:t>$  5.01</a:t>
                    </a:r>
                  </a:p>
                </c:rich>
              </c:tx>
              <c:dLblPos val="t"/>
              <c:showLegendKey val="0"/>
              <c:showVal val="1"/>
              <c:showCatName val="0"/>
              <c:showSerName val="0"/>
              <c:showPercent val="0"/>
              <c:showBubbleSize val="0"/>
            </c:dLbl>
            <c:dLbl>
              <c:idx val="5"/>
              <c:tx>
                <c:rich>
                  <a:bodyPr/>
                  <a:lstStyle/>
                  <a:p>
                    <a:r>
                      <a:t>$  4.8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4.962413007090744</c:v>
                </c:pt>
                <c:pt idx="1">
                  <c:v>3.161034438960302</c:v>
                </c:pt>
                <c:pt idx="2">
                  <c:v>6.437630580594178</c:v>
                </c:pt>
                <c:pt idx="3">
                  <c:v>2.8065796609193283</c:v>
                </c:pt>
                <c:pt idx="4">
                  <c:v>5.005797119108173</c:v>
                </c:pt>
                <c:pt idx="5">
                  <c:v>4.853787779667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696546115109533</c:v>
                </c:pt>
                <c:pt idx="1">
                  <c:v>1.0817037235922269</c:v>
                </c:pt>
                <c:pt idx="2">
                  <c:v>0.8927880556694566</c:v>
                </c:pt>
                <c:pt idx="3">
                  <c:v>1.0130332662509374</c:v>
                </c:pt>
                <c:pt idx="4">
                  <c:v>0.9893358448128108</c:v>
                </c:pt>
                <c:pt idx="5">
                  <c:v>1.0134274198006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68.058485</c:v>
                </c:pt>
                <c:pt idx="1">
                  <c:v>19.602573</c:v>
                </c:pt>
                <c:pt idx="2">
                  <c:v>15.331294</c:v>
                </c:pt>
                <c:pt idx="3">
                  <c:v>10.87827</c:v>
                </c:pt>
                <c:pt idx="4">
                  <c:v>5.259488</c:v>
                </c:pt>
                <c:pt idx="5">
                  <c:v>4.08173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48</a:t>
                    </a:r>
                  </a:p>
                </c:rich>
              </c:tx>
              <c:dLblPos val="t"/>
              <c:showLegendKey val="0"/>
              <c:showVal val="1"/>
              <c:showCatName val="0"/>
              <c:showSerName val="0"/>
              <c:showPercent val="0"/>
              <c:showBubbleSize val="0"/>
            </c:dLbl>
            <c:dLbl>
              <c:idx val="1"/>
              <c:tx>
                <c:rich>
                  <a:bodyPr/>
                  <a:lstStyle/>
                  <a:p>
                    <a:r>
                      <a:t>$  3.32</a:t>
                    </a:r>
                  </a:p>
                </c:rich>
              </c:tx>
              <c:dLblPos val="t"/>
              <c:showLegendKey val="0"/>
              <c:showVal val="1"/>
              <c:showCatName val="0"/>
              <c:showSerName val="0"/>
              <c:showPercent val="0"/>
              <c:showBubbleSize val="0"/>
            </c:dLbl>
            <c:dLbl>
              <c:idx val="2"/>
              <c:tx>
                <c:rich>
                  <a:bodyPr/>
                  <a:lstStyle/>
                  <a:p>
                    <a:r>
                      <a:t>$  2.48</a:t>
                    </a:r>
                  </a:p>
                </c:rich>
              </c:tx>
              <c:dLblPos val="t"/>
              <c:showLegendKey val="0"/>
              <c:showVal val="1"/>
              <c:showCatName val="0"/>
              <c:showSerName val="0"/>
              <c:showPercent val="0"/>
              <c:showBubbleSize val="0"/>
            </c:dLbl>
            <c:dLbl>
              <c:idx val="3"/>
              <c:tx>
                <c:rich>
                  <a:bodyPr/>
                  <a:lstStyle/>
                  <a:p>
                    <a:r>
                      <a:t>$  2.41</a:t>
                    </a:r>
                  </a:p>
                </c:rich>
              </c:tx>
              <c:dLblPos val="t"/>
              <c:showLegendKey val="0"/>
              <c:showVal val="1"/>
              <c:showCatName val="0"/>
              <c:showSerName val="0"/>
              <c:showPercent val="0"/>
              <c:showBubbleSize val="0"/>
            </c:dLbl>
            <c:dLbl>
              <c:idx val="4"/>
              <c:tx>
                <c:rich>
                  <a:bodyPr/>
                  <a:lstStyle/>
                  <a:p>
                    <a:r>
                      <a:t>$  2.94</a:t>
                    </a:r>
                  </a:p>
                </c:rich>
              </c:tx>
              <c:dLblPos val="t"/>
              <c:showLegendKey val="0"/>
              <c:showVal val="1"/>
              <c:showCatName val="0"/>
              <c:showSerName val="0"/>
              <c:showPercent val="0"/>
              <c:showBubbleSize val="0"/>
            </c:dLbl>
            <c:dLbl>
              <c:idx val="5"/>
              <c:tx>
                <c:rich>
                  <a:bodyPr/>
                  <a:lstStyle/>
                  <a:p>
                    <a:r>
                      <a:t>$  2.2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C$2:$C$7</c:f>
              <c:numCache>
                <c:formatCode>General</c:formatCode>
                <c:ptCount val="6"/>
                <c:pt idx="0">
                  <c:v>2.478527538324894</c:v>
                </c:pt>
                <c:pt idx="1">
                  <c:v>3.31884346037474</c:v>
                </c:pt>
                <c:pt idx="2">
                  <c:v>2.482842464067411</c:v>
                </c:pt>
                <c:pt idx="3">
                  <c:v>2.4057042835201847</c:v>
                </c:pt>
                <c:pt idx="4">
                  <c:v>2.9353277645972824</c:v>
                </c:pt>
                <c:pt idx="5">
                  <c:v>2.248019086822018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Amazon 1P</c:v>
                </c:pt>
                <c:pt idx="3">
                  <c:v>Walmart Div1 Corp</c:v>
                </c:pt>
                <c:pt idx="4">
                  <c:v>Amazon 3P</c:v>
                </c:pt>
                <c:pt idx="5">
                  <c:v>Walmart Nm Corp</c:v>
                </c:pt>
              </c:strCache>
            </c:strRef>
          </c:cat>
          <c:val>
            <c:numRef>
              <c:f>Sheet1!$B$2:$B$7</c:f>
              <c:numCache>
                <c:formatCode>General</c:formatCode>
                <c:ptCount val="6"/>
                <c:pt idx="0">
                  <c:v>0.9864316966720234</c:v>
                </c:pt>
                <c:pt idx="1">
                  <c:v>1.0788959653706645</c:v>
                </c:pt>
                <c:pt idx="2">
                  <c:v>1.1892170926879637</c:v>
                </c:pt>
                <c:pt idx="3">
                  <c:v>0.947346255345019</c:v>
                </c:pt>
                <c:pt idx="4">
                  <c:v>1.2166204683704558</c:v>
                </c:pt>
                <c:pt idx="5">
                  <c:v>0.960959260639571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54.874478</c:v>
                </c:pt>
                <c:pt idx="1">
                  <c:v>71.451948</c:v>
                </c:pt>
                <c:pt idx="2">
                  <c:v>51.583956</c:v>
                </c:pt>
                <c:pt idx="3">
                  <c:v>26.003408</c:v>
                </c:pt>
                <c:pt idx="4">
                  <c:v>19.635869</c:v>
                </c:pt>
                <c:pt idx="5">
                  <c:v>6.8948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4</a:t>
                    </a:r>
                  </a:p>
                </c:rich>
              </c:tx>
              <c:dLblPos val="t"/>
              <c:showLegendKey val="0"/>
              <c:showVal val="1"/>
              <c:showCatName val="0"/>
              <c:showSerName val="0"/>
              <c:showPercent val="0"/>
              <c:showBubbleSize val="0"/>
            </c:dLbl>
            <c:dLbl>
              <c:idx val="1"/>
              <c:tx>
                <c:rich>
                  <a:bodyPr/>
                  <a:lstStyle/>
                  <a:p>
                    <a:r>
                      <a:t>$  2.92</a:t>
                    </a:r>
                  </a:p>
                </c:rich>
              </c:tx>
              <c:dLblPos val="t"/>
              <c:showLegendKey val="0"/>
              <c:showVal val="1"/>
              <c:showCatName val="0"/>
              <c:showSerName val="0"/>
              <c:showPercent val="0"/>
              <c:showBubbleSize val="0"/>
            </c:dLbl>
            <c:dLbl>
              <c:idx val="2"/>
              <c:tx>
                <c:rich>
                  <a:bodyPr/>
                  <a:lstStyle/>
                  <a:p>
                    <a:r>
                      <a:t>$  5.16</a:t>
                    </a:r>
                  </a:p>
                </c:rich>
              </c:tx>
              <c:dLblPos val="t"/>
              <c:showLegendKey val="0"/>
              <c:showVal val="1"/>
              <c:showCatName val="0"/>
              <c:showSerName val="0"/>
              <c:showPercent val="0"/>
              <c:showBubbleSize val="0"/>
            </c:dLbl>
            <c:dLbl>
              <c:idx val="3"/>
              <c:tx>
                <c:rich>
                  <a:bodyPr/>
                  <a:lstStyle/>
                  <a:p>
                    <a:r>
                      <a:t>$  2.78</a:t>
                    </a:r>
                  </a:p>
                </c:rich>
              </c:tx>
              <c:dLblPos val="t"/>
              <c:showLegendKey val="0"/>
              <c:showVal val="1"/>
              <c:showCatName val="0"/>
              <c:showSerName val="0"/>
              <c:showPercent val="0"/>
              <c:showBubbleSize val="0"/>
            </c:dLbl>
            <c:dLbl>
              <c:idx val="4"/>
              <c:tx>
                <c:rich>
                  <a:bodyPr/>
                  <a:lstStyle/>
                  <a:p>
                    <a:r>
                      <a:t>$  3.65</a:t>
                    </a:r>
                  </a:p>
                </c:rich>
              </c:tx>
              <c:dLblPos val="t"/>
              <c:showLegendKey val="0"/>
              <c:showVal val="1"/>
              <c:showCatName val="0"/>
              <c:showSerName val="0"/>
              <c:showPercent val="0"/>
              <c:showBubbleSize val="0"/>
            </c:dLbl>
            <c:dLbl>
              <c:idx val="5"/>
              <c:tx>
                <c:rich>
                  <a:bodyPr/>
                  <a:lstStyle/>
                  <a:p>
                    <a:r>
                      <a:t>$  3.6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3.541070705411556</c:v>
                </c:pt>
                <c:pt idx="1">
                  <c:v>2.9152121127208557</c:v>
                </c:pt>
                <c:pt idx="2">
                  <c:v>5.162564370729364</c:v>
                </c:pt>
                <c:pt idx="3">
                  <c:v>2.7814439535482722</c:v>
                </c:pt>
                <c:pt idx="4">
                  <c:v>3.6490497930624106</c:v>
                </c:pt>
                <c:pt idx="5">
                  <c:v>3.59813164585499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213542532361426</c:v>
                </c:pt>
                <c:pt idx="1">
                  <c:v>1.135419139155194</c:v>
                </c:pt>
                <c:pt idx="2">
                  <c:v>0.937201232105267</c:v>
                </c:pt>
                <c:pt idx="3">
                  <c:v>1.15665964710758</c:v>
                </c:pt>
                <c:pt idx="4">
                  <c:v>0.9541092544015969</c:v>
                </c:pt>
                <c:pt idx="5">
                  <c:v>0.98345114313088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69.15786</c:v>
                </c:pt>
                <c:pt idx="1">
                  <c:v>31.855451</c:v>
                </c:pt>
                <c:pt idx="2">
                  <c:v>26.280011</c:v>
                </c:pt>
                <c:pt idx="3">
                  <c:v>13.838857</c:v>
                </c:pt>
                <c:pt idx="4">
                  <c:v>9.038227</c:v>
                </c:pt>
                <c:pt idx="5">
                  <c:v>3.1161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16</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81</a:t>
                    </a:r>
                  </a:p>
                </c:rich>
              </c:tx>
              <c:dLblPos val="t"/>
              <c:showLegendKey val="0"/>
              <c:showVal val="1"/>
              <c:showCatName val="0"/>
              <c:showSerName val="0"/>
              <c:showPercent val="0"/>
              <c:showBubbleSize val="0"/>
            </c:dLbl>
            <c:dLbl>
              <c:idx val="4"/>
              <c:tx>
                <c:rich>
                  <a:bodyPr/>
                  <a:lstStyle/>
                  <a:p>
                    <a:r>
                      <a:t>$  5.01</a:t>
                    </a:r>
                  </a:p>
                </c:rich>
              </c:tx>
              <c:dLblPos val="t"/>
              <c:showLegendKey val="0"/>
              <c:showVal val="1"/>
              <c:showCatName val="0"/>
              <c:showSerName val="0"/>
              <c:showPercent val="0"/>
              <c:showBubbleSize val="0"/>
            </c:dLbl>
            <c:dLbl>
              <c:idx val="5"/>
              <c:tx>
                <c:rich>
                  <a:bodyPr/>
                  <a:lstStyle/>
                  <a:p>
                    <a:r>
                      <a:t>$  4.8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4.962413007090744</c:v>
                </c:pt>
                <c:pt idx="1">
                  <c:v>3.161034438960302</c:v>
                </c:pt>
                <c:pt idx="2">
                  <c:v>6.437630580594178</c:v>
                </c:pt>
                <c:pt idx="3">
                  <c:v>2.8065796609193283</c:v>
                </c:pt>
                <c:pt idx="4">
                  <c:v>5.005797119108173</c:v>
                </c:pt>
                <c:pt idx="5">
                  <c:v>4.853787779667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696546115109533</c:v>
                </c:pt>
                <c:pt idx="1">
                  <c:v>1.0817037235922269</c:v>
                </c:pt>
                <c:pt idx="2">
                  <c:v>0.8927880556694566</c:v>
                </c:pt>
                <c:pt idx="3">
                  <c:v>1.0130332662509374</c:v>
                </c:pt>
                <c:pt idx="4">
                  <c:v>0.9893358448128108</c:v>
                </c:pt>
                <c:pt idx="5">
                  <c:v>1.0134274198006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Walmart Nm Corp</c:v>
                </c:pt>
                <c:pt idx="4">
                  <c:v>Amazon 3P</c:v>
                </c:pt>
                <c:pt idx="5">
                  <c:v>Amazon 1P</c:v>
                </c:pt>
              </c:strCache>
            </c:strRef>
          </c:cat>
          <c:val>
            <c:numRef>
              <c:f>Sheet1!$B$2:$B$7</c:f>
              <c:numCache>
                <c:formatCode>General</c:formatCode>
                <c:ptCount val="6"/>
                <c:pt idx="0">
                  <c:v>23.476875</c:v>
                </c:pt>
                <c:pt idx="1">
                  <c:v>5.480306</c:v>
                </c:pt>
                <c:pt idx="2">
                  <c:v>3.56176</c:v>
                </c:pt>
                <c:pt idx="3">
                  <c:v>1.342872</c:v>
                </c:pt>
                <c:pt idx="4">
                  <c:v>0.119625</c:v>
                </c:pt>
                <c:pt idx="5">
                  <c:v>0.0307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69</a:t>
                    </a:r>
                  </a:p>
                </c:rich>
              </c:tx>
              <c:dLblPos val="t"/>
              <c:showLegendKey val="0"/>
              <c:showVal val="1"/>
              <c:showCatName val="0"/>
              <c:showSerName val="0"/>
              <c:showPercent val="0"/>
              <c:showBubbleSize val="0"/>
            </c:dLbl>
            <c:dLbl>
              <c:idx val="1"/>
              <c:tx>
                <c:rich>
                  <a:bodyPr/>
                  <a:lstStyle/>
                  <a:p>
                    <a:r>
                      <a:t>$  2.53</a:t>
                    </a:r>
                  </a:p>
                </c:rich>
              </c:tx>
              <c:dLblPos val="t"/>
              <c:showLegendKey val="0"/>
              <c:showVal val="1"/>
              <c:showCatName val="0"/>
              <c:showSerName val="0"/>
              <c:showPercent val="0"/>
              <c:showBubbleSize val="0"/>
            </c:dLbl>
            <c:dLbl>
              <c:idx val="2"/>
              <c:tx>
                <c:rich>
                  <a:bodyPr/>
                  <a:lstStyle/>
                  <a:p>
                    <a:r>
                      <a:t>$  1.51</a:t>
                    </a:r>
                  </a:p>
                </c:rich>
              </c:tx>
              <c:dLblPos val="t"/>
              <c:showLegendKey val="0"/>
              <c:showVal val="1"/>
              <c:showCatName val="0"/>
              <c:showSerName val="0"/>
              <c:showPercent val="0"/>
              <c:showBubbleSize val="0"/>
            </c:dLbl>
            <c:dLbl>
              <c:idx val="3"/>
              <c:tx>
                <c:rich>
                  <a:bodyPr/>
                  <a:lstStyle/>
                  <a:p>
                    <a:r>
                      <a:t>$  1.44</a:t>
                    </a:r>
                  </a:p>
                </c:rich>
              </c:tx>
              <c:dLblPos val="t"/>
              <c:showLegendKey val="0"/>
              <c:showVal val="1"/>
              <c:showCatName val="0"/>
              <c:showSerName val="0"/>
              <c:showPercent val="0"/>
              <c:showBubbleSize val="0"/>
            </c:dLbl>
            <c:dLbl>
              <c:idx val="4"/>
              <c:tx>
                <c:rich>
                  <a:bodyPr/>
                  <a:lstStyle/>
                  <a:p>
                    <a:r>
                      <a:t>$  2.53</a:t>
                    </a:r>
                  </a:p>
                </c:rich>
              </c:tx>
              <c:dLblPos val="t"/>
              <c:showLegendKey val="0"/>
              <c:showVal val="1"/>
              <c:showCatName val="0"/>
              <c:showSerName val="0"/>
              <c:showPercent val="0"/>
              <c:showBubbleSize val="0"/>
            </c:dLbl>
            <c:dLbl>
              <c:idx val="5"/>
              <c:tx>
                <c:rich>
                  <a:bodyPr/>
                  <a:lstStyle/>
                  <a:p>
                    <a:r>
                      <a:t>$  0.5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Walmart Nm Corp</c:v>
                </c:pt>
                <c:pt idx="4">
                  <c:v>Amazon 3P</c:v>
                </c:pt>
                <c:pt idx="5">
                  <c:v>Amazon 1P</c:v>
                </c:pt>
              </c:strCache>
            </c:strRef>
          </c:cat>
          <c:val>
            <c:numRef>
              <c:f>Sheet1!$C$2:$C$7</c:f>
              <c:numCache>
                <c:formatCode>General</c:formatCode>
                <c:ptCount val="6"/>
                <c:pt idx="0">
                  <c:v>1.687443262230381</c:v>
                </c:pt>
                <c:pt idx="1">
                  <c:v>2.5273291404148095</c:v>
                </c:pt>
                <c:pt idx="2">
                  <c:v>1.513755190337154</c:v>
                </c:pt>
                <c:pt idx="3">
                  <c:v>1.442316863075317</c:v>
                </c:pt>
                <c:pt idx="4">
                  <c:v>2.5297115547284723</c:v>
                </c:pt>
                <c:pt idx="5">
                  <c:v>0.51334324816603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Walmart Nm Corp</c:v>
                </c:pt>
                <c:pt idx="4">
                  <c:v>Amazon 3P</c:v>
                </c:pt>
                <c:pt idx="5">
                  <c:v>Amazon 1P</c:v>
                </c:pt>
              </c:strCache>
            </c:strRef>
          </c:cat>
          <c:val>
            <c:numRef>
              <c:f>Sheet1!$B$2:$B$7</c:f>
              <c:numCache>
                <c:formatCode>General</c:formatCode>
                <c:ptCount val="6"/>
                <c:pt idx="0">
                  <c:v>1.0637254066844557</c:v>
                </c:pt>
                <c:pt idx="1">
                  <c:v>0.9634127518489284</c:v>
                </c:pt>
                <c:pt idx="2">
                  <c:v>1.0220308104802807</c:v>
                </c:pt>
                <c:pt idx="3">
                  <c:v>1.108971135098442</c:v>
                </c:pt>
                <c:pt idx="4">
                  <c:v>2.270311817957526</c:v>
                </c:pt>
                <c:pt idx="5">
                  <c:v>0.445275470713571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B$2:$B$7</c:f>
              <c:numCache>
                <c:formatCode>General</c:formatCode>
                <c:ptCount val="6"/>
                <c:pt idx="0">
                  <c:v>207.262231</c:v>
                </c:pt>
                <c:pt idx="1">
                  <c:v>62.934152</c:v>
                </c:pt>
                <c:pt idx="2">
                  <c:v>53.548944</c:v>
                </c:pt>
                <c:pt idx="3">
                  <c:v>31.018165</c:v>
                </c:pt>
                <c:pt idx="4">
                  <c:v>15.170335</c:v>
                </c:pt>
                <c:pt idx="5">
                  <c:v>11.0654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46</a:t>
                    </a:r>
                  </a:p>
                </c:rich>
              </c:tx>
              <c:dLblPos val="t"/>
              <c:showLegendKey val="0"/>
              <c:showVal val="1"/>
              <c:showCatName val="0"/>
              <c:showSerName val="0"/>
              <c:showPercent val="0"/>
              <c:showBubbleSize val="0"/>
            </c:dLbl>
            <c:dLbl>
              <c:idx val="1"/>
              <c:tx>
                <c:rich>
                  <a:bodyPr/>
                  <a:lstStyle/>
                  <a:p>
                    <a:r>
                      <a:t>$  2.13</a:t>
                    </a:r>
                  </a:p>
                </c:rich>
              </c:tx>
              <c:dLblPos val="t"/>
              <c:showLegendKey val="0"/>
              <c:showVal val="1"/>
              <c:showCatName val="0"/>
              <c:showSerName val="0"/>
              <c:showPercent val="0"/>
              <c:showBubbleSize val="0"/>
            </c:dLbl>
            <c:dLbl>
              <c:idx val="2"/>
              <c:tx>
                <c:rich>
                  <a:bodyPr/>
                  <a:lstStyle/>
                  <a:p>
                    <a:r>
                      <a:t>$  3.85</a:t>
                    </a:r>
                  </a:p>
                </c:rich>
              </c:tx>
              <c:dLblPos val="t"/>
              <c:showLegendKey val="0"/>
              <c:showVal val="1"/>
              <c:showCatName val="0"/>
              <c:showSerName val="0"/>
              <c:showPercent val="0"/>
              <c:showBubbleSize val="0"/>
            </c:dLbl>
            <c:dLbl>
              <c:idx val="3"/>
              <c:tx>
                <c:rich>
                  <a:bodyPr/>
                  <a:lstStyle/>
                  <a:p>
                    <a:r>
                      <a:t>$  1.29</a:t>
                    </a:r>
                  </a:p>
                </c:rich>
              </c:tx>
              <c:dLblPos val="t"/>
              <c:showLegendKey val="0"/>
              <c:showVal val="1"/>
              <c:showCatName val="0"/>
              <c:showSerName val="0"/>
              <c:showPercent val="0"/>
              <c:showBubbleSize val="0"/>
            </c:dLbl>
            <c:dLbl>
              <c:idx val="4"/>
              <c:tx>
                <c:rich>
                  <a:bodyPr/>
                  <a:lstStyle/>
                  <a:p>
                    <a:r>
                      <a:t>$  2.60</a:t>
                    </a:r>
                  </a:p>
                </c:rich>
              </c:tx>
              <c:dLblPos val="t"/>
              <c:showLegendKey val="0"/>
              <c:showVal val="1"/>
              <c:showCatName val="0"/>
              <c:showSerName val="0"/>
              <c:showPercent val="0"/>
              <c:showBubbleSize val="0"/>
            </c:dLbl>
            <c:dLbl>
              <c:idx val="5"/>
              <c:tx>
                <c:rich>
                  <a:bodyPr/>
                  <a:lstStyle/>
                  <a:p>
                    <a:r>
                      <a:t>$  1.2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C$2:$C$7</c:f>
              <c:numCache>
                <c:formatCode>General</c:formatCode>
                <c:ptCount val="6"/>
                <c:pt idx="0">
                  <c:v>1.464679057475957</c:v>
                </c:pt>
                <c:pt idx="1">
                  <c:v>2.1322954429926764</c:v>
                </c:pt>
                <c:pt idx="2">
                  <c:v>3.84704867356103</c:v>
                </c:pt>
                <c:pt idx="3">
                  <c:v>1.2850273525677376</c:v>
                </c:pt>
                <c:pt idx="4">
                  <c:v>2.60477282744508</c:v>
                </c:pt>
                <c:pt idx="5">
                  <c:v>1.2003324359825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B$2:$B$7</c:f>
              <c:numCache>
                <c:formatCode>General</c:formatCode>
                <c:ptCount val="6"/>
                <c:pt idx="0">
                  <c:v>1.0103121951968055</c:v>
                </c:pt>
                <c:pt idx="1">
                  <c:v>1.171686118978672</c:v>
                </c:pt>
                <c:pt idx="2">
                  <c:v>0.9358806356920245</c:v>
                </c:pt>
                <c:pt idx="3">
                  <c:v>0.9797742045947053</c:v>
                </c:pt>
                <c:pt idx="4">
                  <c:v>1.2948097115582728</c:v>
                </c:pt>
                <c:pt idx="5">
                  <c:v>1.006205052628554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33.536443</c:v>
                </c:pt>
                <c:pt idx="1">
                  <c:v>10.944349</c:v>
                </c:pt>
                <c:pt idx="2">
                  <c:v>8.95184</c:v>
                </c:pt>
                <c:pt idx="3">
                  <c:v>6.40982</c:v>
                </c:pt>
                <c:pt idx="4">
                  <c:v>4.840828</c:v>
                </c:pt>
                <c:pt idx="5">
                  <c:v>1.8183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7</a:t>
                    </a:r>
                  </a:p>
                </c:rich>
              </c:tx>
              <c:dLblPos val="t"/>
              <c:showLegendKey val="0"/>
              <c:showVal val="1"/>
              <c:showCatName val="0"/>
              <c:showSerName val="0"/>
              <c:showPercent val="0"/>
              <c:showBubbleSize val="0"/>
            </c:dLbl>
            <c:dLbl>
              <c:idx val="1"/>
              <c:tx>
                <c:rich>
                  <a:bodyPr/>
                  <a:lstStyle/>
                  <a:p>
                    <a:r>
                      <a:t>$  2.01</a:t>
                    </a:r>
                  </a:p>
                </c:rich>
              </c:tx>
              <c:dLblPos val="t"/>
              <c:showLegendKey val="0"/>
              <c:showVal val="1"/>
              <c:showCatName val="0"/>
              <c:showSerName val="0"/>
              <c:showPercent val="0"/>
              <c:showBubbleSize val="0"/>
            </c:dLbl>
            <c:dLbl>
              <c:idx val="2"/>
              <c:tx>
                <c:rich>
                  <a:bodyPr/>
                  <a:lstStyle/>
                  <a:p>
                    <a:r>
                      <a:t>$  2.28</a:t>
                    </a:r>
                  </a:p>
                </c:rich>
              </c:tx>
              <c:dLblPos val="t"/>
              <c:showLegendKey val="0"/>
              <c:showVal val="1"/>
              <c:showCatName val="0"/>
              <c:showSerName val="0"/>
              <c:showPercent val="0"/>
              <c:showBubbleSize val="0"/>
            </c:dLbl>
            <c:dLbl>
              <c:idx val="3"/>
              <c:tx>
                <c:rich>
                  <a:bodyPr/>
                  <a:lstStyle/>
                  <a:p>
                    <a:r>
                      <a:t>$  3.11</a:t>
                    </a:r>
                  </a:p>
                </c:rich>
              </c:tx>
              <c:dLblPos val="t"/>
              <c:showLegendKey val="0"/>
              <c:showVal val="1"/>
              <c:showCatName val="0"/>
              <c:showSerName val="0"/>
              <c:showPercent val="0"/>
              <c:showBubbleSize val="0"/>
            </c:dLbl>
            <c:dLbl>
              <c:idx val="4"/>
              <c:tx>
                <c:rich>
                  <a:bodyPr/>
                  <a:lstStyle/>
                  <a:p>
                    <a:r>
                      <a:t>$  1.85</a:t>
                    </a:r>
                  </a:p>
                </c:rich>
              </c:tx>
              <c:dLblPos val="t"/>
              <c:showLegendKey val="0"/>
              <c:showVal val="1"/>
              <c:showCatName val="0"/>
              <c:showSerName val="0"/>
              <c:showPercent val="0"/>
              <c:showBubbleSize val="0"/>
            </c:dLbl>
            <c:dLbl>
              <c:idx val="5"/>
              <c:tx>
                <c:rich>
                  <a:bodyPr/>
                  <a:lstStyle/>
                  <a:p>
                    <a:r>
                      <a:t>$  1.7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C$2:$C$7</c:f>
              <c:numCache>
                <c:formatCode>General</c:formatCode>
                <c:ptCount val="6"/>
                <c:pt idx="0">
                  <c:v>2.072183717025598</c:v>
                </c:pt>
                <c:pt idx="1">
                  <c:v>2.0144854629984468</c:v>
                </c:pt>
                <c:pt idx="2">
                  <c:v>2.282245839390452</c:v>
                </c:pt>
                <c:pt idx="3">
                  <c:v>3.109603754527487</c:v>
                </c:pt>
                <c:pt idx="4">
                  <c:v>1.853232974707314</c:v>
                </c:pt>
                <c:pt idx="5">
                  <c:v>1.73652699757614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1.1607443562510515</c:v>
                </c:pt>
                <c:pt idx="1">
                  <c:v>0.9835700332735158</c:v>
                </c:pt>
                <c:pt idx="2">
                  <c:v>1.0155003839390617</c:v>
                </c:pt>
                <c:pt idx="3">
                  <c:v>1.04413678738921</c:v>
                </c:pt>
                <c:pt idx="4">
                  <c:v>1.0254796580906886</c:v>
                </c:pt>
                <c:pt idx="5">
                  <c:v>1.09346724542090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136.246761</c:v>
                </c:pt>
                <c:pt idx="1">
                  <c:v>24.3428</c:v>
                </c:pt>
                <c:pt idx="2">
                  <c:v>24.322477</c:v>
                </c:pt>
                <c:pt idx="3">
                  <c:v>18.443142</c:v>
                </c:pt>
                <c:pt idx="4">
                  <c:v>8.989407</c:v>
                </c:pt>
                <c:pt idx="5">
                  <c:v>4.2529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1.03</a:t>
                    </a:r>
                  </a:p>
                </c:rich>
              </c:tx>
              <c:dLblPos val="t"/>
              <c:showLegendKey val="0"/>
              <c:showVal val="1"/>
              <c:showCatName val="0"/>
              <c:showSerName val="0"/>
              <c:showPercent val="0"/>
              <c:showBubbleSize val="0"/>
            </c:dLbl>
            <c:dLbl>
              <c:idx val="3"/>
              <c:tx>
                <c:rich>
                  <a:bodyPr/>
                  <a:lstStyle/>
                  <a:p>
                    <a:r>
                      <a:t>$  1.10</a:t>
                    </a:r>
                  </a:p>
                </c:rich>
              </c:tx>
              <c:dLblPos val="t"/>
              <c:showLegendKey val="0"/>
              <c:showVal val="1"/>
              <c:showCatName val="0"/>
              <c:showSerName val="0"/>
              <c:showPercent val="0"/>
              <c:showBubbleSize val="0"/>
            </c:dLbl>
            <c:dLbl>
              <c:idx val="4"/>
              <c:tx>
                <c:rich>
                  <a:bodyPr/>
                  <a:lstStyle/>
                  <a:p>
                    <a:r>
                      <a:t>$  0.97</a:t>
                    </a:r>
                  </a:p>
                </c:rich>
              </c:tx>
              <c:dLblPos val="t"/>
              <c:showLegendKey val="0"/>
              <c:showVal val="1"/>
              <c:showCatName val="0"/>
              <c:showSerName val="0"/>
              <c:showPercent val="0"/>
              <c:showBubbleSize val="0"/>
            </c:dLbl>
            <c:dLbl>
              <c:idx val="5"/>
              <c:tx>
                <c:rich>
                  <a:bodyPr/>
                  <a:lstStyle/>
                  <a:p>
                    <a:r>
                      <a:t>$  1.7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C$2:$C$7</c:f>
              <c:numCache>
                <c:formatCode>General</c:formatCode>
                <c:ptCount val="6"/>
                <c:pt idx="0">
                  <c:v>1.058245426517648</c:v>
                </c:pt>
                <c:pt idx="1">
                  <c:v>2.4328088804699797</c:v>
                </c:pt>
                <c:pt idx="2">
                  <c:v>1.0259789634989473</c:v>
                </c:pt>
                <c:pt idx="3">
                  <c:v>1.0982649892990999</c:v>
                </c:pt>
                <c:pt idx="4">
                  <c:v>0.9673825303295506</c:v>
                </c:pt>
                <c:pt idx="5">
                  <c:v>1.70954650896840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0.9959837398956418</c:v>
                </c:pt>
                <c:pt idx="1">
                  <c:v>1.0464092303139718</c:v>
                </c:pt>
                <c:pt idx="2">
                  <c:v>0.9809276194311005</c:v>
                </c:pt>
                <c:pt idx="3">
                  <c:v>1.1930203896048703</c:v>
                </c:pt>
                <c:pt idx="4">
                  <c:v>0.9963941232588693</c:v>
                </c:pt>
                <c:pt idx="5">
                  <c:v>1.198661093007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54.874478</c:v>
                </c:pt>
                <c:pt idx="1">
                  <c:v>71.451948</c:v>
                </c:pt>
                <c:pt idx="2">
                  <c:v>51.583956</c:v>
                </c:pt>
                <c:pt idx="3">
                  <c:v>26.003408</c:v>
                </c:pt>
                <c:pt idx="4">
                  <c:v>19.635869</c:v>
                </c:pt>
                <c:pt idx="5">
                  <c:v>6.8948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54</a:t>
                    </a:r>
                  </a:p>
                </c:rich>
              </c:tx>
              <c:dLblPos val="t"/>
              <c:showLegendKey val="0"/>
              <c:showVal val="1"/>
              <c:showCatName val="0"/>
              <c:showSerName val="0"/>
              <c:showPercent val="0"/>
              <c:showBubbleSize val="0"/>
            </c:dLbl>
            <c:dLbl>
              <c:idx val="1"/>
              <c:tx>
                <c:rich>
                  <a:bodyPr/>
                  <a:lstStyle/>
                  <a:p>
                    <a:r>
                      <a:t>$  2.92</a:t>
                    </a:r>
                  </a:p>
                </c:rich>
              </c:tx>
              <c:dLblPos val="t"/>
              <c:showLegendKey val="0"/>
              <c:showVal val="1"/>
              <c:showCatName val="0"/>
              <c:showSerName val="0"/>
              <c:showPercent val="0"/>
              <c:showBubbleSize val="0"/>
            </c:dLbl>
            <c:dLbl>
              <c:idx val="2"/>
              <c:tx>
                <c:rich>
                  <a:bodyPr/>
                  <a:lstStyle/>
                  <a:p>
                    <a:r>
                      <a:t>$  5.16</a:t>
                    </a:r>
                  </a:p>
                </c:rich>
              </c:tx>
              <c:dLblPos val="t"/>
              <c:showLegendKey val="0"/>
              <c:showVal val="1"/>
              <c:showCatName val="0"/>
              <c:showSerName val="0"/>
              <c:showPercent val="0"/>
              <c:showBubbleSize val="0"/>
            </c:dLbl>
            <c:dLbl>
              <c:idx val="3"/>
              <c:tx>
                <c:rich>
                  <a:bodyPr/>
                  <a:lstStyle/>
                  <a:p>
                    <a:r>
                      <a:t>$  2.78</a:t>
                    </a:r>
                  </a:p>
                </c:rich>
              </c:tx>
              <c:dLblPos val="t"/>
              <c:showLegendKey val="0"/>
              <c:showVal val="1"/>
              <c:showCatName val="0"/>
              <c:showSerName val="0"/>
              <c:showPercent val="0"/>
              <c:showBubbleSize val="0"/>
            </c:dLbl>
            <c:dLbl>
              <c:idx val="4"/>
              <c:tx>
                <c:rich>
                  <a:bodyPr/>
                  <a:lstStyle/>
                  <a:p>
                    <a:r>
                      <a:t>$  3.65</a:t>
                    </a:r>
                  </a:p>
                </c:rich>
              </c:tx>
              <c:dLblPos val="t"/>
              <c:showLegendKey val="0"/>
              <c:showVal val="1"/>
              <c:showCatName val="0"/>
              <c:showSerName val="0"/>
              <c:showPercent val="0"/>
              <c:showBubbleSize val="0"/>
            </c:dLbl>
            <c:dLbl>
              <c:idx val="5"/>
              <c:tx>
                <c:rich>
                  <a:bodyPr/>
                  <a:lstStyle/>
                  <a:p>
                    <a:r>
                      <a:t>$  3.6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3.541070705411556</c:v>
                </c:pt>
                <c:pt idx="1">
                  <c:v>2.9152121127208557</c:v>
                </c:pt>
                <c:pt idx="2">
                  <c:v>5.162564370729364</c:v>
                </c:pt>
                <c:pt idx="3">
                  <c:v>2.7814439535482722</c:v>
                </c:pt>
                <c:pt idx="4">
                  <c:v>3.6490497930624106</c:v>
                </c:pt>
                <c:pt idx="5">
                  <c:v>3.59813164585499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213542532361426</c:v>
                </c:pt>
                <c:pt idx="1">
                  <c:v>1.135419139155194</c:v>
                </c:pt>
                <c:pt idx="2">
                  <c:v>0.937201232105267</c:v>
                </c:pt>
                <c:pt idx="3">
                  <c:v>1.15665964710758</c:v>
                </c:pt>
                <c:pt idx="4">
                  <c:v>0.9541092544015969</c:v>
                </c:pt>
                <c:pt idx="5">
                  <c:v>0.983451143130880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2.734921</c:v>
                </c:pt>
                <c:pt idx="1">
                  <c:v>0.389528</c:v>
                </c:pt>
                <c:pt idx="2">
                  <c:v>0.257585</c:v>
                </c:pt>
                <c:pt idx="3">
                  <c:v>0.128075</c:v>
                </c:pt>
                <c:pt idx="4">
                  <c:v>0.05448</c:v>
                </c:pt>
                <c:pt idx="5">
                  <c:v>0.0001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25</a:t>
                    </a:r>
                  </a:p>
                </c:rich>
              </c:tx>
              <c:dLblPos val="t"/>
              <c:showLegendKey val="0"/>
              <c:showVal val="1"/>
              <c:showCatName val="0"/>
              <c:showSerName val="0"/>
              <c:showPercent val="0"/>
              <c:showBubbleSize val="0"/>
            </c:dLbl>
            <c:dLbl>
              <c:idx val="1"/>
              <c:tx>
                <c:rich>
                  <a:bodyPr/>
                  <a:lstStyle/>
                  <a:p>
                    <a:r>
                      <a:t>$  1.25</a:t>
                    </a:r>
                  </a:p>
                </c:rich>
              </c:tx>
              <c:dLblPos val="t"/>
              <c:showLegendKey val="0"/>
              <c:showVal val="1"/>
              <c:showCatName val="0"/>
              <c:showSerName val="0"/>
              <c:showPercent val="0"/>
              <c:showBubbleSize val="0"/>
            </c:dLbl>
            <c:dLbl>
              <c:idx val="2"/>
              <c:tx>
                <c:rich>
                  <a:bodyPr/>
                  <a:lstStyle/>
                  <a:p>
                    <a:r>
                      <a:t>$  2.05</a:t>
                    </a:r>
                  </a:p>
                </c:rich>
              </c:tx>
              <c:dLblPos val="t"/>
              <c:showLegendKey val="0"/>
              <c:showVal val="1"/>
              <c:showCatName val="0"/>
              <c:showSerName val="0"/>
              <c:showPercent val="0"/>
              <c:showBubbleSize val="0"/>
            </c:dLbl>
            <c:dLbl>
              <c:idx val="3"/>
              <c:tx>
                <c:rich>
                  <a:bodyPr/>
                  <a:lstStyle/>
                  <a:p>
                    <a:r>
                      <a:t>$  1.76</a:t>
                    </a:r>
                  </a:p>
                </c:rich>
              </c:tx>
              <c:dLblPos val="t"/>
              <c:showLegendKey val="0"/>
              <c:showVal val="1"/>
              <c:showCatName val="0"/>
              <c:showSerName val="0"/>
              <c:showPercent val="0"/>
              <c:showBubbleSize val="0"/>
            </c:dLbl>
            <c:dLbl>
              <c:idx val="4"/>
              <c:tx>
                <c:rich>
                  <a:bodyPr/>
                  <a:lstStyle/>
                  <a:p>
                    <a:r>
                      <a:t>$  1.34</a:t>
                    </a:r>
                  </a:p>
                </c:rich>
              </c:tx>
              <c:dLblPos val="t"/>
              <c:showLegendKey val="0"/>
              <c:showVal val="1"/>
              <c:showCatName val="0"/>
              <c:showSerName val="0"/>
              <c:showPercent val="0"/>
              <c:showBubbleSize val="0"/>
            </c:dLbl>
            <c:dLbl>
              <c:idx val="5"/>
              <c:tx>
                <c:rich>
                  <a:bodyPr/>
                  <a:lstStyle/>
                  <a:p>
                    <a:r>
                      <a:t>$  1.6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C$2:$C$7</c:f>
              <c:numCache>
                <c:formatCode>General</c:formatCode>
                <c:ptCount val="6"/>
                <c:pt idx="0">
                  <c:v>1.2528050359178355</c:v>
                </c:pt>
                <c:pt idx="1">
                  <c:v>1.2505674503420754</c:v>
                </c:pt>
                <c:pt idx="2">
                  <c:v>2.0523556455018444</c:v>
                </c:pt>
                <c:pt idx="3">
                  <c:v>1.7641670569437176</c:v>
                </c:pt>
                <c:pt idx="4">
                  <c:v>1.3432283833427845</c:v>
                </c:pt>
                <c:pt idx="5">
                  <c:v>1.6551724137931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Walmart Div1 Corp</c:v>
                </c:pt>
                <c:pt idx="2">
                  <c:v>Amazon 1P</c:v>
                </c:pt>
                <c:pt idx="3">
                  <c:v>Amazon 3P</c:v>
                </c:pt>
                <c:pt idx="4">
                  <c:v>Walmart Nm Corp</c:v>
                </c:pt>
                <c:pt idx="5">
                  <c:v>CVS</c:v>
                </c:pt>
              </c:strCache>
            </c:strRef>
          </c:cat>
          <c:val>
            <c:numRef>
              <c:f>Sheet1!$B$2:$B$7</c:f>
              <c:numCache>
                <c:formatCode>General</c:formatCode>
                <c:ptCount val="6"/>
                <c:pt idx="0">
                  <c:v>0.6953474193348269</c:v>
                </c:pt>
                <c:pt idx="1">
                  <c:v>0.655669492267191</c:v>
                </c:pt>
                <c:pt idx="2">
                  <c:v>1.443959234926116</c:v>
                </c:pt>
                <c:pt idx="3">
                  <c:v>0.3201370784101504</c:v>
                </c:pt>
                <c:pt idx="4">
                  <c:v>0.7525381587126183</c:v>
                </c:pt>
                <c:pt idx="5">
                  <c:v>0.001979218208807521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69.15786</c:v>
                </c:pt>
                <c:pt idx="1">
                  <c:v>31.855451</c:v>
                </c:pt>
                <c:pt idx="2">
                  <c:v>26.280011</c:v>
                </c:pt>
                <c:pt idx="3">
                  <c:v>13.838857</c:v>
                </c:pt>
                <c:pt idx="4">
                  <c:v>9.038227</c:v>
                </c:pt>
                <c:pt idx="5">
                  <c:v>3.1161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4.96</a:t>
                    </a:r>
                  </a:p>
                </c:rich>
              </c:tx>
              <c:dLblPos val="t"/>
              <c:showLegendKey val="0"/>
              <c:showVal val="1"/>
              <c:showCatName val="0"/>
              <c:showSerName val="0"/>
              <c:showPercent val="0"/>
              <c:showBubbleSize val="0"/>
            </c:dLbl>
            <c:dLbl>
              <c:idx val="1"/>
              <c:tx>
                <c:rich>
                  <a:bodyPr/>
                  <a:lstStyle/>
                  <a:p>
                    <a:r>
                      <a:t>$  3.16</a:t>
                    </a:r>
                  </a:p>
                </c:rich>
              </c:tx>
              <c:dLblPos val="t"/>
              <c:showLegendKey val="0"/>
              <c:showVal val="1"/>
              <c:showCatName val="0"/>
              <c:showSerName val="0"/>
              <c:showPercent val="0"/>
              <c:showBubbleSize val="0"/>
            </c:dLbl>
            <c:dLbl>
              <c:idx val="2"/>
              <c:tx>
                <c:rich>
                  <a:bodyPr/>
                  <a:lstStyle/>
                  <a:p>
                    <a:r>
                      <a:t>$  6.44</a:t>
                    </a:r>
                  </a:p>
                </c:rich>
              </c:tx>
              <c:dLblPos val="t"/>
              <c:showLegendKey val="0"/>
              <c:showVal val="1"/>
              <c:showCatName val="0"/>
              <c:showSerName val="0"/>
              <c:showPercent val="0"/>
              <c:showBubbleSize val="0"/>
            </c:dLbl>
            <c:dLbl>
              <c:idx val="3"/>
              <c:tx>
                <c:rich>
                  <a:bodyPr/>
                  <a:lstStyle/>
                  <a:p>
                    <a:r>
                      <a:t>$  2.81</a:t>
                    </a:r>
                  </a:p>
                </c:rich>
              </c:tx>
              <c:dLblPos val="t"/>
              <c:showLegendKey val="0"/>
              <c:showVal val="1"/>
              <c:showCatName val="0"/>
              <c:showSerName val="0"/>
              <c:showPercent val="0"/>
              <c:showBubbleSize val="0"/>
            </c:dLbl>
            <c:dLbl>
              <c:idx val="4"/>
              <c:tx>
                <c:rich>
                  <a:bodyPr/>
                  <a:lstStyle/>
                  <a:p>
                    <a:r>
                      <a:t>$  5.01</a:t>
                    </a:r>
                  </a:p>
                </c:rich>
              </c:tx>
              <c:dLblPos val="t"/>
              <c:showLegendKey val="0"/>
              <c:showVal val="1"/>
              <c:showCatName val="0"/>
              <c:showSerName val="0"/>
              <c:showPercent val="0"/>
              <c:showBubbleSize val="0"/>
            </c:dLbl>
            <c:dLbl>
              <c:idx val="5"/>
              <c:tx>
                <c:rich>
                  <a:bodyPr/>
                  <a:lstStyle/>
                  <a:p>
                    <a:r>
                      <a:t>$  4.85</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4.962413007090744</c:v>
                </c:pt>
                <c:pt idx="1">
                  <c:v>3.161034438960302</c:v>
                </c:pt>
                <c:pt idx="2">
                  <c:v>6.437630580594178</c:v>
                </c:pt>
                <c:pt idx="3">
                  <c:v>2.8065796609193283</c:v>
                </c:pt>
                <c:pt idx="4">
                  <c:v>5.005797119108173</c:v>
                </c:pt>
                <c:pt idx="5">
                  <c:v>4.8537877796676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1.0696546115109533</c:v>
                </c:pt>
                <c:pt idx="1">
                  <c:v>1.0817037235922269</c:v>
                </c:pt>
                <c:pt idx="2">
                  <c:v>0.8927880556694566</c:v>
                </c:pt>
                <c:pt idx="3">
                  <c:v>1.0130332662509374</c:v>
                </c:pt>
                <c:pt idx="4">
                  <c:v>0.9893358448128108</c:v>
                </c:pt>
                <c:pt idx="5">
                  <c:v>1.0134274198006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82.981697</c:v>
                </c:pt>
                <c:pt idx="1">
                  <c:v>39.338912</c:v>
                </c:pt>
                <c:pt idx="2">
                  <c:v>25.303753</c:v>
                </c:pt>
                <c:pt idx="3">
                  <c:v>12.036476</c:v>
                </c:pt>
                <c:pt idx="4">
                  <c:v>10.208114</c:v>
                </c:pt>
                <c:pt idx="5">
                  <c:v>3.72418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0</a:t>
                    </a:r>
                  </a:p>
                </c:rich>
              </c:tx>
              <c:dLblPos val="t"/>
              <c:showLegendKey val="0"/>
              <c:showVal val="1"/>
              <c:showCatName val="0"/>
              <c:showSerName val="0"/>
              <c:showPercent val="0"/>
              <c:showBubbleSize val="0"/>
            </c:dLbl>
            <c:dLbl>
              <c:idx val="1"/>
              <c:tx>
                <c:rich>
                  <a:bodyPr/>
                  <a:lstStyle/>
                  <a:p>
                    <a:r>
                      <a:t>$  2.75</a:t>
                    </a:r>
                  </a:p>
                </c:rich>
              </c:tx>
              <c:dLblPos val="t"/>
              <c:showLegendKey val="0"/>
              <c:showVal val="1"/>
              <c:showCatName val="0"/>
              <c:showSerName val="0"/>
              <c:showPercent val="0"/>
              <c:showBubbleSize val="0"/>
            </c:dLbl>
            <c:dLbl>
              <c:idx val="2"/>
              <c:tx>
                <c:rich>
                  <a:bodyPr/>
                  <a:lstStyle/>
                  <a:p>
                    <a:r>
                      <a:t>$  4.28</a:t>
                    </a:r>
                  </a:p>
                </c:rich>
              </c:tx>
              <c:dLblPos val="t"/>
              <c:showLegendKey val="0"/>
              <c:showVal val="1"/>
              <c:showCatName val="0"/>
              <c:showSerName val="0"/>
              <c:showPercent val="0"/>
              <c:showBubbleSize val="0"/>
            </c:dLbl>
            <c:dLbl>
              <c:idx val="3"/>
              <c:tx>
                <c:rich>
                  <a:bodyPr/>
                  <a:lstStyle/>
                  <a:p>
                    <a:r>
                      <a:t>$  2.77</a:t>
                    </a:r>
                  </a:p>
                </c:rich>
              </c:tx>
              <c:dLblPos val="t"/>
              <c:showLegendKey val="0"/>
              <c:showVal val="1"/>
              <c:showCatName val="0"/>
              <c:showSerName val="0"/>
              <c:showPercent val="0"/>
              <c:showBubbleSize val="0"/>
            </c:dLbl>
            <c:dLbl>
              <c:idx val="4"/>
              <c:tx>
                <c:rich>
                  <a:bodyPr/>
                  <a:lstStyle/>
                  <a:p>
                    <a:r>
                      <a:t>$  3.13</a:t>
                    </a:r>
                  </a:p>
                </c:rich>
              </c:tx>
              <c:dLblPos val="t"/>
              <c:showLegendKey val="0"/>
              <c:showVal val="1"/>
              <c:showCatName val="0"/>
              <c:showSerName val="0"/>
              <c:showPercent val="0"/>
              <c:showBubbleSize val="0"/>
            </c:dLbl>
            <c:dLbl>
              <c:idx val="5"/>
              <c:tx>
                <c:rich>
                  <a:bodyPr/>
                  <a:lstStyle/>
                  <a:p>
                    <a:r>
                      <a:t>$  3.0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C$2:$C$7</c:f>
              <c:numCache>
                <c:formatCode>General</c:formatCode>
                <c:ptCount val="6"/>
                <c:pt idx="0">
                  <c:v>3.0047053926334226</c:v>
                </c:pt>
                <c:pt idx="1">
                  <c:v>2.7496293943651446</c:v>
                </c:pt>
                <c:pt idx="2">
                  <c:v>4.281833672896121</c:v>
                </c:pt>
                <c:pt idx="3">
                  <c:v>2.7699172555614773</c:v>
                </c:pt>
                <c:pt idx="4">
                  <c:v>3.127430333652159</c:v>
                </c:pt>
                <c:pt idx="5">
                  <c:v>3.018807435754230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Amazon 3P</c:v>
                </c:pt>
                <c:pt idx="4">
                  <c:v>Walmart Div1 Corp</c:v>
                </c:pt>
                <c:pt idx="5">
                  <c:v>Walmart Nm Corp</c:v>
                </c:pt>
              </c:strCache>
            </c:strRef>
          </c:cat>
          <c:val>
            <c:numRef>
              <c:f>Sheet1!$B$2:$B$7</c:f>
              <c:numCache>
                <c:formatCode>General</c:formatCode>
                <c:ptCount val="6"/>
                <c:pt idx="0">
                  <c:v>0.9991915239273661</c:v>
                </c:pt>
                <c:pt idx="1">
                  <c:v>1.18126711968843</c:v>
                </c:pt>
                <c:pt idx="2">
                  <c:v>0.9920111430628973</c:v>
                </c:pt>
                <c:pt idx="3">
                  <c:v>1.4294093742080427</c:v>
                </c:pt>
                <c:pt idx="4">
                  <c:v>0.940790402570482</c:v>
                </c:pt>
                <c:pt idx="5">
                  <c:v>0.96392076778531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B$2:$B$7</c:f>
              <c:numCache>
                <c:formatCode>General</c:formatCode>
                <c:ptCount val="6"/>
                <c:pt idx="0">
                  <c:v>139.527367</c:v>
                </c:pt>
                <c:pt idx="1">
                  <c:v>44.856633</c:v>
                </c:pt>
                <c:pt idx="2">
                  <c:v>29.546099</c:v>
                </c:pt>
                <c:pt idx="3">
                  <c:v>18.590964</c:v>
                </c:pt>
                <c:pt idx="4">
                  <c:v>16.410563</c:v>
                </c:pt>
                <c:pt idx="5">
                  <c:v>6.4399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3.00</a:t>
                    </a:r>
                  </a:p>
                </c:rich>
              </c:tx>
              <c:dLblPos val="t"/>
              <c:showLegendKey val="0"/>
              <c:showVal val="1"/>
              <c:showCatName val="0"/>
              <c:showSerName val="0"/>
              <c:showPercent val="0"/>
              <c:showBubbleSize val="0"/>
            </c:dLbl>
            <c:dLbl>
              <c:idx val="1"/>
              <c:tx>
                <c:rich>
                  <a:bodyPr/>
                  <a:lstStyle/>
                  <a:p>
                    <a:r>
                      <a:t>$  2.65</a:t>
                    </a:r>
                  </a:p>
                </c:rich>
              </c:tx>
              <c:dLblPos val="t"/>
              <c:showLegendKey val="0"/>
              <c:showVal val="1"/>
              <c:showCatName val="0"/>
              <c:showSerName val="0"/>
              <c:showPercent val="0"/>
              <c:showBubbleSize val="0"/>
            </c:dLbl>
            <c:dLbl>
              <c:idx val="2"/>
              <c:tx>
                <c:rich>
                  <a:bodyPr/>
                  <a:lstStyle/>
                  <a:p>
                    <a:r>
                      <a:t>$  5.21</a:t>
                    </a:r>
                  </a:p>
                </c:rich>
              </c:tx>
              <c:dLblPos val="t"/>
              <c:showLegendKey val="0"/>
              <c:showVal val="1"/>
              <c:showCatName val="0"/>
              <c:showSerName val="0"/>
              <c:showPercent val="0"/>
              <c:showBubbleSize val="0"/>
            </c:dLbl>
            <c:dLbl>
              <c:idx val="3"/>
              <c:tx>
                <c:rich>
                  <a:bodyPr/>
                  <a:lstStyle/>
                  <a:p>
                    <a:r>
                      <a:t>$  3.03</a:t>
                    </a:r>
                  </a:p>
                </c:rich>
              </c:tx>
              <c:dLblPos val="t"/>
              <c:showLegendKey val="0"/>
              <c:showVal val="1"/>
              <c:showCatName val="0"/>
              <c:showSerName val="0"/>
              <c:showPercent val="0"/>
              <c:showBubbleSize val="0"/>
            </c:dLbl>
            <c:dLbl>
              <c:idx val="4"/>
              <c:tx>
                <c:rich>
                  <a:bodyPr/>
                  <a:lstStyle/>
                  <a:p>
                    <a:r>
                      <a:t>$  2.90</a:t>
                    </a:r>
                  </a:p>
                </c:rich>
              </c:tx>
              <c:dLblPos val="t"/>
              <c:showLegendKey val="0"/>
              <c:showVal val="1"/>
              <c:showCatName val="0"/>
              <c:showSerName val="0"/>
              <c:showPercent val="0"/>
              <c:showBubbleSize val="0"/>
            </c:dLbl>
            <c:dLbl>
              <c:idx val="5"/>
              <c:tx>
                <c:rich>
                  <a:bodyPr/>
                  <a:lstStyle/>
                  <a:p>
                    <a:r>
                      <a:t>$  3.0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C$2:$C$7</c:f>
              <c:numCache>
                <c:formatCode>General</c:formatCode>
                <c:ptCount val="6"/>
                <c:pt idx="0">
                  <c:v>3.003553076817497</c:v>
                </c:pt>
                <c:pt idx="1">
                  <c:v>2.6464149595143636</c:v>
                </c:pt>
                <c:pt idx="2">
                  <c:v>5.211125908782497</c:v>
                </c:pt>
                <c:pt idx="3">
                  <c:v>3.0253427255671492</c:v>
                </c:pt>
                <c:pt idx="4">
                  <c:v>2.9034575968192926</c:v>
                </c:pt>
                <c:pt idx="5">
                  <c:v>3.058638886685661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Amazon 3P</c:v>
                </c:pt>
                <c:pt idx="5">
                  <c:v>Walmart Nm Corp</c:v>
                </c:pt>
              </c:strCache>
            </c:strRef>
          </c:cat>
          <c:val>
            <c:numRef>
              <c:f>Sheet1!$B$2:$B$7</c:f>
              <c:numCache>
                <c:formatCode>General</c:formatCode>
                <c:ptCount val="6"/>
                <c:pt idx="0">
                  <c:v>1.0293991786843462</c:v>
                </c:pt>
                <c:pt idx="1">
                  <c:v>1.1953269865748521</c:v>
                </c:pt>
                <c:pt idx="2">
                  <c:v>0.9794193672984021</c:v>
                </c:pt>
                <c:pt idx="3">
                  <c:v>0.9816629691204064</c:v>
                </c:pt>
                <c:pt idx="4">
                  <c:v>1.1702180246042555</c:v>
                </c:pt>
                <c:pt idx="5">
                  <c:v>0.983422195719182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33.536443</c:v>
                </c:pt>
                <c:pt idx="1">
                  <c:v>10.944349</c:v>
                </c:pt>
                <c:pt idx="2">
                  <c:v>8.95184</c:v>
                </c:pt>
                <c:pt idx="3">
                  <c:v>6.40982</c:v>
                </c:pt>
                <c:pt idx="4">
                  <c:v>4.840828</c:v>
                </c:pt>
                <c:pt idx="5">
                  <c:v>1.8183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2.07</a:t>
                    </a:r>
                  </a:p>
                </c:rich>
              </c:tx>
              <c:dLblPos val="t"/>
              <c:showLegendKey val="0"/>
              <c:showVal val="1"/>
              <c:showCatName val="0"/>
              <c:showSerName val="0"/>
              <c:showPercent val="0"/>
              <c:showBubbleSize val="0"/>
            </c:dLbl>
            <c:dLbl>
              <c:idx val="1"/>
              <c:tx>
                <c:rich>
                  <a:bodyPr/>
                  <a:lstStyle/>
                  <a:p>
                    <a:r>
                      <a:t>$  2.01</a:t>
                    </a:r>
                  </a:p>
                </c:rich>
              </c:tx>
              <c:dLblPos val="t"/>
              <c:showLegendKey val="0"/>
              <c:showVal val="1"/>
              <c:showCatName val="0"/>
              <c:showSerName val="0"/>
              <c:showPercent val="0"/>
              <c:showBubbleSize val="0"/>
            </c:dLbl>
            <c:dLbl>
              <c:idx val="2"/>
              <c:tx>
                <c:rich>
                  <a:bodyPr/>
                  <a:lstStyle/>
                  <a:p>
                    <a:r>
                      <a:t>$  2.28</a:t>
                    </a:r>
                  </a:p>
                </c:rich>
              </c:tx>
              <c:dLblPos val="t"/>
              <c:showLegendKey val="0"/>
              <c:showVal val="1"/>
              <c:showCatName val="0"/>
              <c:showSerName val="0"/>
              <c:showPercent val="0"/>
              <c:showBubbleSize val="0"/>
            </c:dLbl>
            <c:dLbl>
              <c:idx val="3"/>
              <c:tx>
                <c:rich>
                  <a:bodyPr/>
                  <a:lstStyle/>
                  <a:p>
                    <a:r>
                      <a:t>$  3.11</a:t>
                    </a:r>
                  </a:p>
                </c:rich>
              </c:tx>
              <c:dLblPos val="t"/>
              <c:showLegendKey val="0"/>
              <c:showVal val="1"/>
              <c:showCatName val="0"/>
              <c:showSerName val="0"/>
              <c:showPercent val="0"/>
              <c:showBubbleSize val="0"/>
            </c:dLbl>
            <c:dLbl>
              <c:idx val="4"/>
              <c:tx>
                <c:rich>
                  <a:bodyPr/>
                  <a:lstStyle/>
                  <a:p>
                    <a:r>
                      <a:t>$  1.85</a:t>
                    </a:r>
                  </a:p>
                </c:rich>
              </c:tx>
              <c:dLblPos val="t"/>
              <c:showLegendKey val="0"/>
              <c:showVal val="1"/>
              <c:showCatName val="0"/>
              <c:showSerName val="0"/>
              <c:showPercent val="0"/>
              <c:showBubbleSize val="0"/>
            </c:dLbl>
            <c:dLbl>
              <c:idx val="5"/>
              <c:tx>
                <c:rich>
                  <a:bodyPr/>
                  <a:lstStyle/>
                  <a:p>
                    <a:r>
                      <a:t>$  1.7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C$2:$C$7</c:f>
              <c:numCache>
                <c:formatCode>General</c:formatCode>
                <c:ptCount val="6"/>
                <c:pt idx="0">
                  <c:v>2.072183717025598</c:v>
                </c:pt>
                <c:pt idx="1">
                  <c:v>2.0144854629984468</c:v>
                </c:pt>
                <c:pt idx="2">
                  <c:v>2.282245839390452</c:v>
                </c:pt>
                <c:pt idx="3">
                  <c:v>3.109603754527487</c:v>
                </c:pt>
                <c:pt idx="4">
                  <c:v>1.853232974707314</c:v>
                </c:pt>
                <c:pt idx="5">
                  <c:v>1.73652699757614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33781</c:v>
                </c:pt>
                <c:pt idx="1">
                  <c:v>1.640082</c:v>
                </c:pt>
                <c:pt idx="2">
                  <c:v>1.07821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47166</c:v>
                </c:pt>
                <c:pt idx="1">
                  <c:v>1.014896</c:v>
                </c:pt>
                <c:pt idx="2">
                  <c:v>0.6402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74426</c:v>
                </c:pt>
                <c:pt idx="1">
                  <c:v>0.24932</c:v>
                </c:pt>
                <c:pt idx="2">
                  <c:v>0.1675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6993</c:v>
                </c:pt>
                <c:pt idx="1">
                  <c:v>0.014271</c:v>
                </c:pt>
                <c:pt idx="2">
                  <c:v>0.00315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e-05</c:v>
                </c:pt>
                <c:pt idx="1">
                  <c:v>4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Amazon 3P</c:v>
                </c:pt>
                <c:pt idx="3">
                  <c:v>CVS</c:v>
                </c:pt>
                <c:pt idx="4">
                  <c:v>Walmart Div1 Corp</c:v>
                </c:pt>
                <c:pt idx="5">
                  <c:v>Walmart Nm Corp</c:v>
                </c:pt>
              </c:strCache>
            </c:strRef>
          </c:cat>
          <c:val>
            <c:numRef>
              <c:f>Sheet1!$B$2:$B$7</c:f>
              <c:numCache>
                <c:formatCode>General</c:formatCode>
                <c:ptCount val="6"/>
                <c:pt idx="0">
                  <c:v>1.1607443562510515</c:v>
                </c:pt>
                <c:pt idx="1">
                  <c:v>0.9835700332735158</c:v>
                </c:pt>
                <c:pt idx="2">
                  <c:v>1.0155003839390617</c:v>
                </c:pt>
                <c:pt idx="3">
                  <c:v>1.04413678738921</c:v>
                </c:pt>
                <c:pt idx="4">
                  <c:v>1.0254796580906886</c:v>
                </c:pt>
                <c:pt idx="5">
                  <c:v>1.09346724542090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136.246761</c:v>
                </c:pt>
                <c:pt idx="1">
                  <c:v>24.3428</c:v>
                </c:pt>
                <c:pt idx="2">
                  <c:v>24.322477</c:v>
                </c:pt>
                <c:pt idx="3">
                  <c:v>18.443142</c:v>
                </c:pt>
                <c:pt idx="4">
                  <c:v>8.989407</c:v>
                </c:pt>
                <c:pt idx="5">
                  <c:v>4.25299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06</a:t>
                    </a:r>
                  </a:p>
                </c:rich>
              </c:tx>
              <c:dLblPos val="t"/>
              <c:showLegendKey val="0"/>
              <c:showVal val="1"/>
              <c:showCatName val="0"/>
              <c:showSerName val="0"/>
              <c:showPercent val="0"/>
              <c:showBubbleSize val="0"/>
            </c:dLbl>
            <c:dLbl>
              <c:idx val="1"/>
              <c:tx>
                <c:rich>
                  <a:bodyPr/>
                  <a:lstStyle/>
                  <a:p>
                    <a:r>
                      <a:t>$  2.43</a:t>
                    </a:r>
                  </a:p>
                </c:rich>
              </c:tx>
              <c:dLblPos val="t"/>
              <c:showLegendKey val="0"/>
              <c:showVal val="1"/>
              <c:showCatName val="0"/>
              <c:showSerName val="0"/>
              <c:showPercent val="0"/>
              <c:showBubbleSize val="0"/>
            </c:dLbl>
            <c:dLbl>
              <c:idx val="2"/>
              <c:tx>
                <c:rich>
                  <a:bodyPr/>
                  <a:lstStyle/>
                  <a:p>
                    <a:r>
                      <a:t>$  1.03</a:t>
                    </a:r>
                  </a:p>
                </c:rich>
              </c:tx>
              <c:dLblPos val="t"/>
              <c:showLegendKey val="0"/>
              <c:showVal val="1"/>
              <c:showCatName val="0"/>
              <c:showSerName val="0"/>
              <c:showPercent val="0"/>
              <c:showBubbleSize val="0"/>
            </c:dLbl>
            <c:dLbl>
              <c:idx val="3"/>
              <c:tx>
                <c:rich>
                  <a:bodyPr/>
                  <a:lstStyle/>
                  <a:p>
                    <a:r>
                      <a:t>$  1.10</a:t>
                    </a:r>
                  </a:p>
                </c:rich>
              </c:tx>
              <c:dLblPos val="t"/>
              <c:showLegendKey val="0"/>
              <c:showVal val="1"/>
              <c:showCatName val="0"/>
              <c:showSerName val="0"/>
              <c:showPercent val="0"/>
              <c:showBubbleSize val="0"/>
            </c:dLbl>
            <c:dLbl>
              <c:idx val="4"/>
              <c:tx>
                <c:rich>
                  <a:bodyPr/>
                  <a:lstStyle/>
                  <a:p>
                    <a:r>
                      <a:t>$  0.97</a:t>
                    </a:r>
                  </a:p>
                </c:rich>
              </c:tx>
              <c:dLblPos val="t"/>
              <c:showLegendKey val="0"/>
              <c:showVal val="1"/>
              <c:showCatName val="0"/>
              <c:showSerName val="0"/>
              <c:showPercent val="0"/>
              <c:showBubbleSize val="0"/>
            </c:dLbl>
            <c:dLbl>
              <c:idx val="5"/>
              <c:tx>
                <c:rich>
                  <a:bodyPr/>
                  <a:lstStyle/>
                  <a:p>
                    <a:r>
                      <a:t>$  1.71</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C$2:$C$7</c:f>
              <c:numCache>
                <c:formatCode>General</c:formatCode>
                <c:ptCount val="6"/>
                <c:pt idx="0">
                  <c:v>1.058245426517648</c:v>
                </c:pt>
                <c:pt idx="1">
                  <c:v>2.4328088804699797</c:v>
                </c:pt>
                <c:pt idx="2">
                  <c:v>1.0259789634989473</c:v>
                </c:pt>
                <c:pt idx="3">
                  <c:v>1.0982649892990999</c:v>
                </c:pt>
                <c:pt idx="4">
                  <c:v>0.9673825303295506</c:v>
                </c:pt>
                <c:pt idx="5">
                  <c:v>1.70954650896840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CVS</c:v>
                </c:pt>
                <c:pt idx="2">
                  <c:v>Walmart Div1 Corp</c:v>
                </c:pt>
                <c:pt idx="3">
                  <c:v>Amazon 1P</c:v>
                </c:pt>
                <c:pt idx="4">
                  <c:v>Walmart Nm Corp</c:v>
                </c:pt>
                <c:pt idx="5">
                  <c:v>Amazon 3P</c:v>
                </c:pt>
              </c:strCache>
            </c:strRef>
          </c:cat>
          <c:val>
            <c:numRef>
              <c:f>Sheet1!$B$2:$B$7</c:f>
              <c:numCache>
                <c:formatCode>General</c:formatCode>
                <c:ptCount val="6"/>
                <c:pt idx="0">
                  <c:v>0.9959837398956418</c:v>
                </c:pt>
                <c:pt idx="1">
                  <c:v>1.0464092303139718</c:v>
                </c:pt>
                <c:pt idx="2">
                  <c:v>0.9809276194311005</c:v>
                </c:pt>
                <c:pt idx="3">
                  <c:v>1.1930203896048703</c:v>
                </c:pt>
                <c:pt idx="4">
                  <c:v>0.9963941232588693</c:v>
                </c:pt>
                <c:pt idx="5">
                  <c:v>1.19866109300761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81309</c:v>
                </c:pt>
                <c:pt idx="1">
                  <c:v>3.740682</c:v>
                </c:pt>
                <c:pt idx="2">
                  <c:v>2.57093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88367</c:v>
                </c:pt>
                <c:pt idx="1">
                  <c:v>1.350689</c:v>
                </c:pt>
                <c:pt idx="2">
                  <c:v>0.8261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21363</c:v>
                </c:pt>
                <c:pt idx="1">
                  <c:v>0.223835</c:v>
                </c:pt>
                <c:pt idx="2">
                  <c:v>0.1545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907</c:v>
                </c:pt>
                <c:pt idx="1">
                  <c:v>0.027757</c:v>
                </c:pt>
                <c:pt idx="2">
                  <c:v>0.0023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e-06</c:v>
                </c:pt>
                <c:pt idx="1">
                  <c:v>5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B$2:$B$7</c:f>
              <c:numCache>
                <c:formatCode>General</c:formatCode>
                <c:ptCount val="6"/>
                <c:pt idx="0">
                  <c:v>29.70118</c:v>
                </c:pt>
                <c:pt idx="1">
                  <c:v>5.486285</c:v>
                </c:pt>
                <c:pt idx="2">
                  <c:v>5.48079</c:v>
                </c:pt>
                <c:pt idx="3">
                  <c:v>4.128569</c:v>
                </c:pt>
                <c:pt idx="4">
                  <c:v>2.167254</c:v>
                </c:pt>
                <c:pt idx="5">
                  <c:v>1.87716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0.44</a:t>
                    </a:r>
                  </a:p>
                </c:rich>
              </c:tx>
              <c:dLblPos val="t"/>
              <c:showLegendKey val="0"/>
              <c:showVal val="1"/>
              <c:showCatName val="0"/>
              <c:showSerName val="0"/>
              <c:showPercent val="0"/>
              <c:showBubbleSize val="0"/>
            </c:dLbl>
            <c:dLbl>
              <c:idx val="1"/>
              <c:tx>
                <c:rich>
                  <a:bodyPr/>
                  <a:lstStyle/>
                  <a:p>
                    <a:r>
                      <a:t>$  0.66</a:t>
                    </a:r>
                  </a:p>
                </c:rich>
              </c:tx>
              <c:dLblPos val="t"/>
              <c:showLegendKey val="0"/>
              <c:showVal val="1"/>
              <c:showCatName val="0"/>
              <c:showSerName val="0"/>
              <c:showPercent val="0"/>
              <c:showBubbleSize val="0"/>
            </c:dLbl>
            <c:dLbl>
              <c:idx val="2"/>
              <c:tx>
                <c:rich>
                  <a:bodyPr/>
                  <a:lstStyle/>
                  <a:p>
                    <a:r>
                      <a:t>$  0.42</a:t>
                    </a:r>
                  </a:p>
                </c:rich>
              </c:tx>
              <c:dLblPos val="t"/>
              <c:showLegendKey val="0"/>
              <c:showVal val="1"/>
              <c:showCatName val="0"/>
              <c:showSerName val="0"/>
              <c:showPercent val="0"/>
              <c:showBubbleSize val="0"/>
            </c:dLbl>
            <c:dLbl>
              <c:idx val="3"/>
              <c:tx>
                <c:rich>
                  <a:bodyPr/>
                  <a:lstStyle/>
                  <a:p>
                    <a:r>
                      <a:t>$  2.33</a:t>
                    </a:r>
                  </a:p>
                </c:rich>
              </c:tx>
              <c:dLblPos val="t"/>
              <c:showLegendKey val="0"/>
              <c:showVal val="1"/>
              <c:showCatName val="0"/>
              <c:showSerName val="0"/>
              <c:showPercent val="0"/>
              <c:showBubbleSize val="0"/>
            </c:dLbl>
            <c:dLbl>
              <c:idx val="4"/>
              <c:tx>
                <c:rich>
                  <a:bodyPr/>
                  <a:lstStyle/>
                  <a:p>
                    <a:r>
                      <a:t>$  0.40</a:t>
                    </a:r>
                  </a:p>
                </c:rich>
              </c:tx>
              <c:dLblPos val="t"/>
              <c:showLegendKey val="0"/>
              <c:showVal val="1"/>
              <c:showCatName val="0"/>
              <c:showSerName val="0"/>
              <c:showPercent val="0"/>
              <c:showBubbleSize val="0"/>
            </c:dLbl>
            <c:dLbl>
              <c:idx val="5"/>
              <c:tx>
                <c:rich>
                  <a:bodyPr/>
                  <a:lstStyle/>
                  <a:p>
                    <a:r>
                      <a:t>$  2.74</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C$2:$C$7</c:f>
              <c:numCache>
                <c:formatCode>General</c:formatCode>
                <c:ptCount val="6"/>
                <c:pt idx="0">
                  <c:v>0.4428479622743118</c:v>
                </c:pt>
                <c:pt idx="1">
                  <c:v>0.6631795741631601</c:v>
                </c:pt>
                <c:pt idx="2">
                  <c:v>0.42055696121719266</c:v>
                </c:pt>
                <c:pt idx="3">
                  <c:v>2.3272405763410653</c:v>
                </c:pt>
                <c:pt idx="4">
                  <c:v>0.400541064416162</c:v>
                </c:pt>
                <c:pt idx="5">
                  <c:v>2.74226804123711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Walmart Div1 Corp</c:v>
                </c:pt>
                <c:pt idx="3">
                  <c:v>CVS</c:v>
                </c:pt>
                <c:pt idx="4">
                  <c:v>Walmart Nm Corp</c:v>
                </c:pt>
                <c:pt idx="5">
                  <c:v>Amazon 3P</c:v>
                </c:pt>
              </c:strCache>
            </c:strRef>
          </c:cat>
          <c:val>
            <c:numRef>
              <c:f>Sheet1!$B$2:$B$7</c:f>
              <c:numCache>
                <c:formatCode>General</c:formatCode>
                <c:ptCount val="6"/>
                <c:pt idx="0">
                  <c:v>1.0793008603139653</c:v>
                </c:pt>
                <c:pt idx="1">
                  <c:v>1.6023435759027755</c:v>
                </c:pt>
                <c:pt idx="2">
                  <c:v>1.0984588318692332</c:v>
                </c:pt>
                <c:pt idx="3">
                  <c:v>1.1162421673743157</c:v>
                </c:pt>
                <c:pt idx="4">
                  <c:v>1.120966390466437</c:v>
                </c:pt>
                <c:pt idx="5">
                  <c:v>0.751481616110503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79.616315</c:v>
                </c:pt>
                <c:pt idx="1">
                  <c:v>28.641803</c:v>
                </c:pt>
                <c:pt idx="2">
                  <c:v>27.629591</c:v>
                </c:pt>
                <c:pt idx="3">
                  <c:v>14.039276</c:v>
                </c:pt>
                <c:pt idx="4">
                  <c:v>5.257737</c:v>
                </c:pt>
                <c:pt idx="5">
                  <c:v>2.62477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  1.87</a:t>
                    </a:r>
                  </a:p>
                </c:rich>
              </c:tx>
              <c:dLblPos val="t"/>
              <c:showLegendKey val="0"/>
              <c:showVal val="1"/>
              <c:showCatName val="0"/>
              <c:showSerName val="0"/>
              <c:showPercent val="0"/>
              <c:showBubbleSize val="0"/>
            </c:dLbl>
            <c:dLbl>
              <c:idx val="1"/>
              <c:tx>
                <c:rich>
                  <a:bodyPr/>
                  <a:lstStyle/>
                  <a:p>
                    <a:r>
                      <a:t>$  2.32</a:t>
                    </a:r>
                  </a:p>
                </c:rich>
              </c:tx>
              <c:dLblPos val="t"/>
              <c:showLegendKey val="0"/>
              <c:showVal val="1"/>
              <c:showCatName val="0"/>
              <c:showSerName val="0"/>
              <c:showPercent val="0"/>
              <c:showBubbleSize val="0"/>
            </c:dLbl>
            <c:dLbl>
              <c:idx val="2"/>
              <c:tx>
                <c:rich>
                  <a:bodyPr/>
                  <a:lstStyle/>
                  <a:p>
                    <a:r>
                      <a:t>$  3.32</a:t>
                    </a:r>
                  </a:p>
                </c:rich>
              </c:tx>
              <c:dLblPos val="t"/>
              <c:showLegendKey val="0"/>
              <c:showVal val="1"/>
              <c:showCatName val="0"/>
              <c:showSerName val="0"/>
              <c:showPercent val="0"/>
              <c:showBubbleSize val="0"/>
            </c:dLbl>
            <c:dLbl>
              <c:idx val="3"/>
              <c:tx>
                <c:rich>
                  <a:bodyPr/>
                  <a:lstStyle/>
                  <a:p>
                    <a:r>
                      <a:t>$  1.86</a:t>
                    </a:r>
                  </a:p>
                </c:rich>
              </c:tx>
              <c:dLblPos val="t"/>
              <c:showLegendKey val="0"/>
              <c:showVal val="1"/>
              <c:showCatName val="0"/>
              <c:showSerName val="0"/>
              <c:showPercent val="0"/>
              <c:showBubbleSize val="0"/>
            </c:dLbl>
            <c:dLbl>
              <c:idx val="4"/>
              <c:tx>
                <c:rich>
                  <a:bodyPr/>
                  <a:lstStyle/>
                  <a:p>
                    <a:r>
                      <a:t>$  1.88</a:t>
                    </a:r>
                  </a:p>
                </c:rich>
              </c:tx>
              <c:dLblPos val="t"/>
              <c:showLegendKey val="0"/>
              <c:showVal val="1"/>
              <c:showCatName val="0"/>
              <c:showSerName val="0"/>
              <c:showPercent val="0"/>
              <c:showBubbleSize val="0"/>
            </c:dLbl>
            <c:dLbl>
              <c:idx val="5"/>
              <c:tx>
                <c:rich>
                  <a:bodyPr/>
                  <a:lstStyle/>
                  <a:p>
                    <a:r>
                      <a:t>$  1.7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C$2:$C$7</c:f>
              <c:numCache>
                <c:formatCode>General</c:formatCode>
                <c:ptCount val="6"/>
                <c:pt idx="0">
                  <c:v>1.8671264625621473</c:v>
                </c:pt>
                <c:pt idx="1">
                  <c:v>2.3176379350789884</c:v>
                </c:pt>
                <c:pt idx="2">
                  <c:v>3.3171293428264907</c:v>
                </c:pt>
                <c:pt idx="3">
                  <c:v>1.856831442062681</c:v>
                </c:pt>
                <c:pt idx="4">
                  <c:v>1.8781536019272578</c:v>
                </c:pt>
                <c:pt idx="5">
                  <c:v>1.768944655275712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US"/>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2061050895"/>
        <c:crosses val="autoZero"/>
        <c:crossBetween val="between"/>
      </c:valAx>
      <c:valAx>
        <c:axId val="496383423"/>
        <c:scaling>
          <c:orientation val="minMax"/>
        </c:scaling>
        <c:delete val="0"/>
        <c:axPos val="r"/>
        <c:numFmt formatCode="$ #,##0.0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US"/>
    </a:p>
  </c:txPr>
  <c:externalData r:id="rId3">
    <c:autoUpdate val="0"/>
  </c:externalData>
</c:chartSpace>
</file>

<file path=ppt/charts/chart2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almart Sc Corp</c:v>
                </c:pt>
                <c:pt idx="1">
                  <c:v>Amazon 1P</c:v>
                </c:pt>
                <c:pt idx="2">
                  <c:v>CVS</c:v>
                </c:pt>
                <c:pt idx="3">
                  <c:v>Walmart Div1 Corp</c:v>
                </c:pt>
                <c:pt idx="4">
                  <c:v>Walmart Nm Corp</c:v>
                </c:pt>
                <c:pt idx="5">
                  <c:v>Amazon 3P</c:v>
                </c:pt>
              </c:strCache>
            </c:strRef>
          </c:cat>
          <c:val>
            <c:numRef>
              <c:f>Sheet1!$B$2:$B$7</c:f>
              <c:numCache>
                <c:formatCode>General</c:formatCode>
                <c:ptCount val="6"/>
                <c:pt idx="0">
                  <c:v>0.9629466685244342</c:v>
                </c:pt>
                <c:pt idx="1">
                  <c:v>1.051894118390649</c:v>
                </c:pt>
                <c:pt idx="2">
                  <c:v>1.0478251068679865</c:v>
                </c:pt>
                <c:pt idx="3">
                  <c:v>0.9364333722311176</c:v>
                </c:pt>
                <c:pt idx="4">
                  <c:v>0.9926976993674775</c:v>
                </c:pt>
                <c:pt idx="5">
                  <c:v>1.14405366047778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07544</c:v>
                </c:pt>
                <c:pt idx="1">
                  <c:v>3.872105</c:v>
                </c:pt>
                <c:pt idx="2">
                  <c:v>2.28130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10336</c:v>
                </c:pt>
                <c:pt idx="1">
                  <c:v>2.116566</c:v>
                </c:pt>
                <c:pt idx="2">
                  <c:v>1.3490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11894</c:v>
                </c:pt>
                <c:pt idx="1">
                  <c:v>0.750374</c:v>
                </c:pt>
                <c:pt idx="2">
                  <c:v>0.5900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9789</c:v>
                </c:pt>
                <c:pt idx="1">
                  <c:v>1.94408</c:v>
                </c:pt>
                <c:pt idx="2">
                  <c:v>1.38491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226112</c:v>
                </c:pt>
                <c:pt idx="1">
                  <c:v>2.148787</c:v>
                </c:pt>
                <c:pt idx="2">
                  <c:v>1.4949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30347</c:v>
                </c:pt>
                <c:pt idx="1">
                  <c:v>0.83324</c:v>
                </c:pt>
                <c:pt idx="2">
                  <c:v>0.52822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e-06</c:v>
                </c:pt>
                <c:pt idx="1">
                  <c:v>1.12782</c:v>
                </c:pt>
                <c:pt idx="2">
                  <c:v>1.08446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10716</c:v>
                </c:pt>
                <c:pt idx="1">
                  <c:v>0.324302</c:v>
                </c:pt>
                <c:pt idx="2">
                  <c:v>0.25419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57486</c:v>
                </c:pt>
                <c:pt idx="1">
                  <c:v>0.097144</c:v>
                </c:pt>
                <c:pt idx="2">
                  <c:v>0.0028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28754</c:v>
                </c:pt>
                <c:pt idx="1">
                  <c:v>0.382953</c:v>
                </c:pt>
                <c:pt idx="2">
                  <c:v>0.307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264817</c:v>
                </c:pt>
                <c:pt idx="1">
                  <c:v>7.474501</c:v>
                </c:pt>
                <c:pt idx="2">
                  <c:v>4.4106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10139</c:v>
                </c:pt>
                <c:pt idx="1">
                  <c:v>3.857215</c:v>
                </c:pt>
                <c:pt idx="2">
                  <c:v>2.418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3009</c:v>
                </c:pt>
                <c:pt idx="1">
                  <c:v>2.13218</c:v>
                </c:pt>
                <c:pt idx="2">
                  <c:v>1.7647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408156</c:v>
                </c:pt>
                <c:pt idx="1">
                  <c:v>2.012046</c:v>
                </c:pt>
                <c:pt idx="2">
                  <c:v>1.430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80911</c:v>
                </c:pt>
                <c:pt idx="1">
                  <c:v>2.001538</c:v>
                </c:pt>
                <c:pt idx="2">
                  <c:v>1.44790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255483</c:v>
                </c:pt>
                <c:pt idx="1">
                  <c:v>1.221028</c:v>
                </c:pt>
                <c:pt idx="2">
                  <c:v>0.7755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e-06</c:v>
                </c:pt>
                <c:pt idx="1">
                  <c:v>1.871292</c:v>
                </c:pt>
                <c:pt idx="2">
                  <c:v>1.78908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82151</c:v>
                </c:pt>
                <c:pt idx="1">
                  <c:v>1.172552</c:v>
                </c:pt>
                <c:pt idx="2">
                  <c:v>0.9259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875673</c:v>
                </c:pt>
                <c:pt idx="1">
                  <c:v>0.20026</c:v>
                </c:pt>
                <c:pt idx="2">
                  <c:v>0.00695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25872</c:v>
                </c:pt>
                <c:pt idx="1">
                  <c:v>0.748059</c:v>
                </c:pt>
                <c:pt idx="2">
                  <c:v>0.7135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5</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102309</c:v>
                </c:pt>
                <c:pt idx="1">
                  <c:v>10.519461</c:v>
                </c:pt>
                <c:pt idx="2">
                  <c:v>8.12578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3</a:t>
                    </a:r>
                  </a:p>
                </c:rich>
              </c:tx>
              <c:showLegendKey val="0"/>
              <c:showVal val="1"/>
              <c:showCatName val="0"/>
              <c:showSerName val="0"/>
              <c:showPercent val="0"/>
              <c:showBubbleSize val="0"/>
            </c:dLbl>
            <c:dLbl>
              <c:idx val="2"/>
              <c:tx>
                <c:rich>
                  <a:bodyPr/>
                  <a:lstStyle/>
                  <a:p>
                    <a:r>
                      <a:rPr>
                        <a:solidFill>
                          <a:srgbClr val="FFFFFF"/>
                        </a:solidFill>
                      </a:rPr>
                      <a:t>3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565575</c:v>
                </c:pt>
                <c:pt idx="1">
                  <c:v>41.271147</c:v>
                </c:pt>
                <c:pt idx="2">
                  <c:v>31.1010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3</a:t>
                    </a:r>
                  </a:p>
                </c:rich>
              </c:tx>
              <c:showLegendKey val="0"/>
              <c:showVal val="1"/>
              <c:showCatName val="0"/>
              <c:showSerName val="0"/>
              <c:showPercent val="0"/>
              <c:showBubbleSize val="0"/>
            </c:dLbl>
            <c:dLbl>
              <c:idx val="2"/>
              <c:tx>
                <c:rich>
                  <a:bodyPr/>
                  <a:lstStyle/>
                  <a:p>
                    <a:r>
                      <a:rPr>
                        <a:solidFill>
                          <a:srgbClr val="FFFFFF"/>
                        </a:solidFill>
                      </a:rPr>
                      <a:t>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5.585635</c:v>
                </c:pt>
                <c:pt idx="1">
                  <c:v>12.285127</c:v>
                </c:pt>
                <c:pt idx="2">
                  <c:v>7.5838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9389</c:v>
                </c:pt>
                <c:pt idx="1">
                  <c:v>0.040637</c:v>
                </c:pt>
                <c:pt idx="2">
                  <c:v>0.0216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5e-05</c:v>
                </c:pt>
                <c:pt idx="1">
                  <c:v>3.4e-05</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2.6</a:t>
                    </a:r>
                  </a:p>
                </c:rich>
              </c:tx>
              <c:showLegendKey val="0"/>
              <c:showVal val="1"/>
              <c:showCatName val="0"/>
              <c:showSerName val="0"/>
              <c:showPercent val="0"/>
              <c:showBubbleSize val="0"/>
            </c:dLbl>
            <c:dLbl>
              <c:idx val="1"/>
              <c:tx>
                <c:rich>
                  <a:bodyPr/>
                  <a:lstStyle/>
                  <a:p>
                    <a:r>
                      <a:rPr>
                        <a:solidFill>
                          <a:srgbClr val="FFFFFF"/>
                        </a:solidFill>
                      </a:rPr>
                      <a:t>12.8</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648165</c:v>
                </c:pt>
                <c:pt idx="1">
                  <c:v>12.835409</c:v>
                </c:pt>
                <c:pt idx="2">
                  <c:v>10.488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11.9</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29659</c:v>
                </c:pt>
                <c:pt idx="1">
                  <c:v>11.925839</c:v>
                </c:pt>
                <c:pt idx="2">
                  <c:v>8.74658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172702</c:v>
                </c:pt>
                <c:pt idx="1">
                  <c:v>2.751119</c:v>
                </c:pt>
                <c:pt idx="2">
                  <c:v>1.75877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2523</c:v>
                </c:pt>
                <c:pt idx="1">
                  <c:v>0.02101</c:v>
                </c:pt>
                <c:pt idx="2">
                  <c:v>0.01217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e-06</c:v>
                </c:pt>
                <c:pt idx="1">
                  <c:v>8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7</a:t>
                    </a:r>
                  </a:p>
                </c:rich>
              </c:tx>
              <c:showLegendKey val="0"/>
              <c:showVal val="1"/>
              <c:showCatName val="0"/>
              <c:showSerName val="0"/>
              <c:showPercent val="0"/>
              <c:showBubbleSize val="0"/>
            </c:dLbl>
            <c:dLbl>
              <c:idx val="2"/>
              <c:tx>
                <c:rich>
                  <a:bodyPr/>
                  <a:lstStyle/>
                  <a:p>
                    <a:r>
                      <a:rPr>
                        <a:solidFill>
                          <a:srgbClr val="FFFFFF"/>
                        </a:solidFill>
                      </a:rPr>
                      <a:t>1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994916</c:v>
                </c:pt>
                <c:pt idx="1">
                  <c:v>24.676698</c:v>
                </c:pt>
                <c:pt idx="2">
                  <c:v>16.2756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3</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7.729533</c:v>
                </c:pt>
                <c:pt idx="1">
                  <c:v>14.303811</c:v>
                </c:pt>
                <c:pt idx="2">
                  <c:v>8.6848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728513</c:v>
                </c:pt>
                <c:pt idx="1">
                  <c:v>5.155443</c:v>
                </c:pt>
                <c:pt idx="2">
                  <c:v>3.8378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74755</c:v>
                </c:pt>
                <c:pt idx="1">
                  <c:v>0.182513</c:v>
                </c:pt>
                <c:pt idx="2">
                  <c:v>0.0181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137</c:v>
                </c:pt>
                <c:pt idx="1">
                  <c:v>0.000247</c:v>
                </c:pt>
                <c:pt idx="2">
                  <c:v>3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55.0</a:t>
                    </a:r>
                  </a:p>
                </c:rich>
              </c:tx>
              <c:showLegendKey val="0"/>
              <c:showVal val="1"/>
              <c:showCatName val="0"/>
              <c:showSerName val="0"/>
              <c:showPercent val="0"/>
              <c:showBubbleSize val="0"/>
            </c:dLbl>
            <c:dLbl>
              <c:idx val="1"/>
              <c:tx>
                <c:rich>
                  <a:bodyPr/>
                  <a:lstStyle/>
                  <a:p>
                    <a:r>
                      <a:rPr>
                        <a:solidFill>
                          <a:srgbClr val="FFFFFF"/>
                        </a:solidFill>
                      </a:rPr>
                      <a:t>56.8</a:t>
                    </a:r>
                  </a:p>
                </c:rich>
              </c:tx>
              <c:showLegendKey val="0"/>
              <c:showVal val="1"/>
              <c:showCatName val="0"/>
              <c:showSerName val="0"/>
              <c:showPercent val="0"/>
              <c:showBubbleSize val="0"/>
            </c:dLbl>
            <c:dLbl>
              <c:idx val="2"/>
              <c:tx>
                <c:rich>
                  <a:bodyPr/>
                  <a:lstStyle/>
                  <a:p>
                    <a:r>
                      <a:rPr>
                        <a:solidFill>
                          <a:srgbClr val="FFFFFF"/>
                        </a:solidFill>
                      </a:rPr>
                      <a:t>3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5.02586</c:v>
                </c:pt>
                <c:pt idx="1">
                  <c:v>56.843571</c:v>
                </c:pt>
                <c:pt idx="2">
                  <c:v>38.3144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21.4</a:t>
                    </a:r>
                  </a:p>
                </c:rich>
              </c:tx>
              <c:showLegendKey val="0"/>
              <c:showVal val="1"/>
              <c:showCatName val="0"/>
              <c:showSerName val="0"/>
              <c:showPercent val="0"/>
              <c:showBubbleSize val="0"/>
            </c:dLbl>
            <c:dLbl>
              <c:idx val="1"/>
              <c:tx>
                <c:rich>
                  <a:bodyPr/>
                  <a:lstStyle/>
                  <a:p>
                    <a:r>
                      <a:rPr>
                        <a:solidFill>
                          <a:srgbClr val="FFFFFF"/>
                        </a:solidFill>
                      </a:rPr>
                      <a:t>18.9</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1.390919</c:v>
                </c:pt>
                <c:pt idx="1">
                  <c:v>18.860382</c:v>
                </c:pt>
                <c:pt idx="2">
                  <c:v>11.0613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5.6</a:t>
                    </a:r>
                  </a:p>
                </c:rich>
              </c:tx>
              <c:showLegendKey val="0"/>
              <c:showVal val="1"/>
              <c:showCatName val="0"/>
              <c:showSerName val="0"/>
              <c:showPercent val="0"/>
              <c:showBubbleSize val="0"/>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614319</c:v>
                </c:pt>
                <c:pt idx="1">
                  <c:v>5.679978</c:v>
                </c:pt>
                <c:pt idx="2">
                  <c:v>4.26218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61941</c:v>
                </c:pt>
                <c:pt idx="1">
                  <c:v>0.358196</c:v>
                </c:pt>
                <c:pt idx="2">
                  <c:v>0.01517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e-05</c:v>
                </c:pt>
                <c:pt idx="1">
                  <c:v>0.000182</c:v>
                </c:pt>
                <c:pt idx="2">
                  <c:v>1.4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5</a:t>
                    </a:r>
                  </a:p>
                </c:rich>
              </c:tx>
              <c:showLegendKey val="0"/>
              <c:showVal val="1"/>
              <c:showCatName val="0"/>
              <c:showSerName val="0"/>
              <c:showPercent val="0"/>
              <c:showBubbleSize val="0"/>
            </c:dLbl>
            <c:dLbl>
              <c:idx val="2"/>
              <c:tx>
                <c:rich>
                  <a:bodyPr/>
                  <a:lstStyle/>
                  <a:p>
                    <a:r>
                      <a:rPr>
                        <a:solidFill>
                          <a:srgbClr val="FFFFFF"/>
                        </a:solidFill>
                      </a:rPr>
                      <a:t>5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3.686103</c:v>
                </c:pt>
                <c:pt idx="1">
                  <c:v>82.541785</c:v>
                </c:pt>
                <c:pt idx="2">
                  <c:v>59.8267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6.2</a:t>
                    </a:r>
                  </a:p>
                </c:rich>
              </c:tx>
              <c:showLegendKey val="0"/>
              <c:showVal val="1"/>
              <c:showCatName val="0"/>
              <c:showSerName val="0"/>
              <c:showPercent val="0"/>
              <c:showBubbleSize val="0"/>
            </c:dLbl>
            <c:dLbl>
              <c:idx val="2"/>
              <c:tx>
                <c:rich>
                  <a:bodyPr/>
                  <a:lstStyle/>
                  <a:p>
                    <a:r>
                      <a:rPr>
                        <a:solidFill>
                          <a:srgbClr val="FFFFFF"/>
                        </a:solidFill>
                      </a:rPr>
                      <a:t>4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3.337999</c:v>
                </c:pt>
                <c:pt idx="1">
                  <c:v>56.193679</c:v>
                </c:pt>
                <c:pt idx="2">
                  <c:v>40.11811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7.824914</c:v>
                </c:pt>
                <c:pt idx="1">
                  <c:v>20.083355</c:v>
                </c:pt>
                <c:pt idx="2">
                  <c:v>14.806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158357</c:v>
                </c:pt>
                <c:pt idx="1">
                  <c:v>6.883944</c:v>
                </c:pt>
                <c:pt idx="2">
                  <c:v>4.88635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9</a:t>
                    </a:r>
                  </a:p>
                </c:rich>
              </c:tx>
              <c:showLegendKey val="0"/>
              <c:showVal val="1"/>
              <c:showCatName val="0"/>
              <c:showSerName val="0"/>
              <c:showPercent val="0"/>
              <c:showBubbleSize val="0"/>
            </c:dLbl>
            <c:dLbl>
              <c:idx val="2"/>
              <c:tx>
                <c:rich>
                  <a:bodyPr/>
                  <a:lstStyle/>
                  <a:p>
                    <a:r>
                      <a:rPr>
                        <a:solidFill>
                          <a:srgbClr val="FFFFFF"/>
                        </a:solidFill>
                      </a:rPr>
                      <a:t>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1.96869</c:v>
                </c:pt>
                <c:pt idx="1">
                  <c:v>14.912961</c:v>
                </c:pt>
                <c:pt idx="2">
                  <c:v>9.1799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Universal Razor Ind</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01005</c:v>
                </c:pt>
                <c:pt idx="1">
                  <c:v>0.000439</c:v>
                </c:pt>
                <c:pt idx="2">
                  <c:v>8.1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592</c:v>
                </c:pt>
                <c:pt idx="1">
                  <c:v>0.00106</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1282</c:v>
                </c:pt>
                <c:pt idx="1">
                  <c:v>0.014035</c:v>
                </c:pt>
                <c:pt idx="2">
                  <c:v>0.041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Universal Razor Ind</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19172</c:v>
                </c:pt>
                <c:pt idx="1">
                  <c:v>0.007198</c:v>
                </c:pt>
                <c:pt idx="2">
                  <c:v>0.00118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915</c:v>
                </c:pt>
                <c:pt idx="1">
                  <c:v>0.001562</c:v>
                </c:pt>
                <c:pt idx="2">
                  <c:v>0.0</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7014</c:v>
                </c:pt>
                <c:pt idx="1">
                  <c:v>0.042051</c:v>
                </c:pt>
                <c:pt idx="2">
                  <c:v>0.1001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2242</c:v>
                </c:pt>
                <c:pt idx="1">
                  <c:v>0.493445</c:v>
                </c:pt>
                <c:pt idx="2">
                  <c:v>0.32566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92871</c:v>
                </c:pt>
                <c:pt idx="1">
                  <c:v>0.121396</c:v>
                </c:pt>
                <c:pt idx="2">
                  <c:v>0.08778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691</c:v>
                </c:pt>
                <c:pt idx="1">
                  <c:v>0.046265</c:v>
                </c:pt>
                <c:pt idx="2">
                  <c:v>0.03277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2664</c:v>
                </c:pt>
                <c:pt idx="1">
                  <c:v>0.036545</c:v>
                </c:pt>
                <c:pt idx="2">
                  <c:v>0.0292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60.0</a:t>
                    </a:r>
                  </a:p>
                </c:rich>
              </c:tx>
              <c:showLegendKey val="0"/>
              <c:showVal val="1"/>
              <c:showCatName val="0"/>
              <c:showSerName val="0"/>
              <c:showPercent val="0"/>
              <c:showBubbleSize val="0"/>
            </c:dLbl>
            <c:dLbl>
              <c:idx val="1"/>
              <c:tx>
                <c:rich>
                  <a:bodyPr/>
                  <a:lstStyle/>
                  <a:p>
                    <a:r>
                      <a:rPr>
                        <a:solidFill>
                          <a:srgbClr val="FFFFFF"/>
                        </a:solidFill>
                      </a:rPr>
                      <a:t>362.6</a:t>
                    </a:r>
                  </a:p>
                </c:rich>
              </c:tx>
              <c:showLegendKey val="0"/>
              <c:showVal val="1"/>
              <c:showCatName val="0"/>
              <c:showSerName val="0"/>
              <c:showPercent val="0"/>
              <c:showBubbleSize val="0"/>
            </c:dLbl>
            <c:dLbl>
              <c:idx val="2"/>
              <c:tx>
                <c:rich>
                  <a:bodyPr/>
                  <a:lstStyle/>
                  <a:p>
                    <a:r>
                      <a:rPr>
                        <a:solidFill>
                          <a:srgbClr val="FFFFFF"/>
                        </a:solidFill>
                      </a:rPr>
                      <a:t>26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0.004535</c:v>
                </c:pt>
                <c:pt idx="1">
                  <c:v>362.5666</c:v>
                </c:pt>
                <c:pt idx="2">
                  <c:v>261.3385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200.1</a:t>
                    </a:r>
                  </a:p>
                </c:rich>
              </c:tx>
              <c:showLegendKey val="0"/>
              <c:showVal val="1"/>
              <c:showCatName val="0"/>
              <c:showSerName val="0"/>
              <c:showPercent val="0"/>
              <c:showBubbleSize val="0"/>
            </c:dLbl>
            <c:dLbl>
              <c:idx val="1"/>
              <c:tx>
                <c:rich>
                  <a:bodyPr/>
                  <a:lstStyle/>
                  <a:p>
                    <a:r>
                      <a:rPr>
                        <a:solidFill>
                          <a:srgbClr val="FFFFFF"/>
                        </a:solidFill>
                      </a:rPr>
                      <a:t>212.2</a:t>
                    </a:r>
                  </a:p>
                </c:rich>
              </c:tx>
              <c:showLegendKey val="0"/>
              <c:showVal val="1"/>
              <c:showCatName val="0"/>
              <c:showSerName val="0"/>
              <c:showPercent val="0"/>
              <c:showBubbleSize val="0"/>
            </c:dLbl>
            <c:dLbl>
              <c:idx val="2"/>
              <c:tx>
                <c:rich>
                  <a:bodyPr/>
                  <a:lstStyle/>
                  <a:p>
                    <a:r>
                      <a:rPr>
                        <a:solidFill>
                          <a:srgbClr val="FFFFFF"/>
                        </a:solidFill>
                      </a:rPr>
                      <a:t>13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00.110375</c:v>
                </c:pt>
                <c:pt idx="1">
                  <c:v>212.188887</c:v>
                </c:pt>
                <c:pt idx="2">
                  <c:v>139.5581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56.4</a:t>
                    </a:r>
                  </a:p>
                </c:rich>
              </c:tx>
              <c:showLegendKey val="0"/>
              <c:showVal val="1"/>
              <c:showCatName val="0"/>
              <c:showSerName val="0"/>
              <c:showPercent val="0"/>
              <c:showBubbleSize val="0"/>
            </c:dLbl>
            <c:dLbl>
              <c:idx val="1"/>
              <c:tx>
                <c:rich>
                  <a:bodyPr/>
                  <a:lstStyle/>
                  <a:p>
                    <a:r>
                      <a:rPr>
                        <a:solidFill>
                          <a:srgbClr val="FFFFFF"/>
                        </a:solidFill>
                      </a:rPr>
                      <a:t>62.5</a:t>
                    </a:r>
                  </a:p>
                </c:rich>
              </c:tx>
              <c:showLegendKey val="0"/>
              <c:showVal val="1"/>
              <c:showCatName val="0"/>
              <c:showSerName val="0"/>
              <c:showPercent val="0"/>
              <c:showBubbleSize val="0"/>
            </c:dLbl>
            <c:dLbl>
              <c:idx val="2"/>
              <c:tx>
                <c:rich>
                  <a:bodyPr/>
                  <a:lstStyle/>
                  <a:p>
                    <a:r>
                      <a:rPr>
                        <a:solidFill>
                          <a:srgbClr val="FFFFFF"/>
                        </a:solidFill>
                      </a:rPr>
                      <a:t>4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6.373794</c:v>
                </c:pt>
                <c:pt idx="1">
                  <c:v>62.468341</c:v>
                </c:pt>
                <c:pt idx="2">
                  <c:v>43.8473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a:solidFill>
                          <a:srgbClr val="FFFFFF"/>
                        </a:solidFill>
                      </a:rPr>
                      <a:t>14.6</a:t>
                    </a:r>
                  </a:p>
                </c:rich>
              </c:tx>
              <c:showLegendKey val="0"/>
              <c:showVal val="1"/>
              <c:showCatName val="0"/>
              <c:showSerName val="0"/>
              <c:showPercent val="0"/>
              <c:showBubbleSize val="0"/>
            </c:dLbl>
            <c:dLbl>
              <c:idx val="1"/>
              <c:tx>
                <c:rich>
                  <a:bodyPr/>
                  <a:lstStyle/>
                  <a:p>
                    <a:r>
                      <a:rPr>
                        <a:solidFill>
                          <a:srgbClr val="FFFFFF"/>
                        </a:solidFill>
                      </a:rPr>
                      <a:t>14.5</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4.597425</c:v>
                </c:pt>
                <c:pt idx="1">
                  <c:v>14.462583</c:v>
                </c:pt>
                <c:pt idx="2">
                  <c:v>10.08196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4.7</a:t>
                    </a:r>
                  </a:p>
                </c:rich>
              </c:tx>
              <c:showLegendKey val="0"/>
              <c:showVal val="1"/>
              <c:showCatName val="0"/>
              <c:showSerName val="0"/>
              <c:showPercent val="0"/>
              <c:showBubbleSize val="0"/>
            </c:dLbl>
            <c:dLbl>
              <c:idx val="1"/>
              <c:tx>
                <c:rich>
                  <a:bodyPr/>
                  <a:lstStyle/>
                  <a:p>
                    <a:r>
                      <a:rPr>
                        <a:solidFill>
                          <a:srgbClr val="FFFFFF"/>
                        </a:solidFill>
                      </a:rPr>
                      <a:t>24.0</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4.727379</c:v>
                </c:pt>
                <c:pt idx="1">
                  <c:v>23.999782</c:v>
                </c:pt>
                <c:pt idx="2">
                  <c:v>17.4464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36375</c:v>
                </c:pt>
                <c:pt idx="1">
                  <c:v>2.004256</c:v>
                </c:pt>
                <c:pt idx="2">
                  <c:v>0.9878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7002</c:v>
                </c:pt>
                <c:pt idx="1">
                  <c:v>0.172617</c:v>
                </c:pt>
                <c:pt idx="2">
                  <c:v>0.1457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3387</c:v>
                </c:pt>
                <c:pt idx="1">
                  <c:v>0.075561</c:v>
                </c:pt>
                <c:pt idx="2">
                  <c:v>0.0665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7535</c:v>
                </c:pt>
                <c:pt idx="1">
                  <c:v>0.070252</c:v>
                </c:pt>
                <c:pt idx="2">
                  <c:v>0.1008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153</c:v>
                </c:pt>
                <c:pt idx="1">
                  <c:v>0.030851</c:v>
                </c:pt>
                <c:pt idx="2">
                  <c:v>0.01525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90977</c:v>
                </c:pt>
                <c:pt idx="1">
                  <c:v>0.316879</c:v>
                </c:pt>
                <c:pt idx="2">
                  <c:v>0.20517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49354</c:v>
                </c:pt>
                <c:pt idx="1">
                  <c:v>0.092648</c:v>
                </c:pt>
                <c:pt idx="2">
                  <c:v>0.0411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40002</c:v>
                </c:pt>
                <c:pt idx="1">
                  <c:v>0.663864</c:v>
                </c:pt>
                <c:pt idx="2">
                  <c:v>0.3256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061753</c:v>
                </c:pt>
                <c:pt idx="1">
                  <c:v>5.377846</c:v>
                </c:pt>
                <c:pt idx="2">
                  <c:v>4.68636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6</a:t>
                    </a:r>
                  </a:p>
                </c:rich>
              </c:tx>
              <c:showLegendKey val="0"/>
              <c:showVal val="1"/>
              <c:showCatName val="0"/>
              <c:showSerName val="0"/>
              <c:showPercent val="0"/>
              <c:showBubbleSize val="0"/>
            </c:dLbl>
            <c:dLbl>
              <c:idx val="2"/>
              <c:tx>
                <c:rich>
                  <a:bodyPr/>
                  <a:lstStyle/>
                  <a:p>
                    <a:r>
                      <a:rPr>
                        <a:solidFill>
                          <a:srgbClr val="FFFFFF"/>
                        </a:solidFill>
                      </a:rPr>
                      <a:t>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21177</c:v>
                </c:pt>
                <c:pt idx="1">
                  <c:v>11.555362</c:v>
                </c:pt>
                <c:pt idx="2">
                  <c:v>8.4161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02183</c:v>
                </c:pt>
                <c:pt idx="1">
                  <c:v>0.471958</c:v>
                </c:pt>
                <c:pt idx="2">
                  <c:v>0.46798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9776</c:v>
                </c:pt>
                <c:pt idx="1">
                  <c:v>0.130267</c:v>
                </c:pt>
                <c:pt idx="2">
                  <c:v>0.1139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948573</c:v>
                </c:pt>
                <c:pt idx="1">
                  <c:v>5.0469</c:v>
                </c:pt>
                <c:pt idx="2">
                  <c:v>2.80259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e-05</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0.853463</c:v>
                </c:pt>
                <c:pt idx="1">
                  <c:v>23.833342</c:v>
                </c:pt>
                <c:pt idx="2">
                  <c:v>13.1914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3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4.9</a:t>
                    </a:r>
                  </a:p>
                </c:rich>
              </c:tx>
              <c:showLegendKey val="0"/>
              <c:showVal val="1"/>
              <c:showCatName val="0"/>
              <c:showSerName val="0"/>
              <c:showPercent val="0"/>
              <c:showBubbleSize val="0"/>
            </c:dLbl>
            <c:dLbl>
              <c:idx val="2"/>
              <c:tx>
                <c:rich>
                  <a:bodyPr/>
                  <a:lstStyle/>
                  <a:p>
                    <a:r>
                      <a:rPr>
                        <a:solidFill>
                          <a:srgbClr val="FFFFFF"/>
                        </a:solidFill>
                      </a:rPr>
                      <a:t>9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37.069545</c:v>
                </c:pt>
                <c:pt idx="1">
                  <c:v>134.907884</c:v>
                </c:pt>
                <c:pt idx="2">
                  <c:v>94.9090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5</a:t>
                    </a:r>
                  </a:p>
                </c:rich>
              </c:tx>
              <c:showLegendKey val="0"/>
              <c:showVal val="1"/>
              <c:showCatName val="0"/>
              <c:showSerName val="0"/>
              <c:showPercent val="0"/>
              <c:showBubbleSize val="0"/>
            </c:dLbl>
            <c:dLbl>
              <c:idx val="2"/>
              <c:tx>
                <c:rich>
                  <a:bodyPr/>
                  <a:lstStyle/>
                  <a:p>
                    <a:r>
                      <a:rPr>
                        <a:solidFill>
                          <a:srgbClr val="FFFFFF"/>
                        </a:solidFill>
                      </a:rPr>
                      <a:t>2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927824</c:v>
                </c:pt>
                <c:pt idx="1">
                  <c:v>35.526876</c:v>
                </c:pt>
                <c:pt idx="2">
                  <c:v>27.58344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8.6</a:t>
                    </a:r>
                  </a:p>
                </c:rich>
              </c:tx>
              <c:showLegendKey val="0"/>
              <c:showVal val="1"/>
              <c:showCatName val="0"/>
              <c:showSerName val="0"/>
              <c:showPercent val="0"/>
              <c:showBubbleSize val="0"/>
            </c:dLbl>
            <c:dLbl>
              <c:idx val="2"/>
              <c:tx>
                <c:rich>
                  <a:bodyPr/>
                  <a:lstStyle/>
                  <a:p>
                    <a:r>
                      <a:rPr>
                        <a:solidFill>
                          <a:srgbClr val="FFFFFF"/>
                        </a:solidFill>
                      </a:rPr>
                      <a:t>10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42.890881</c:v>
                </c:pt>
                <c:pt idx="1">
                  <c:v>138.605145</c:v>
                </c:pt>
                <c:pt idx="2">
                  <c:v>101.34836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6</a:t>
                    </a:r>
                  </a:p>
                </c:rich>
              </c:tx>
              <c:showLegendKey val="0"/>
              <c:showVal val="1"/>
              <c:showCatName val="0"/>
              <c:showSerName val="0"/>
              <c:showPercent val="0"/>
              <c:showBubbleSize val="0"/>
            </c:dLbl>
            <c:dLbl>
              <c:idx val="2"/>
              <c:tx>
                <c:rich>
                  <a:bodyPr/>
                  <a:lstStyle/>
                  <a:p>
                    <a:r>
                      <a:rPr>
                        <a:solidFill>
                          <a:srgbClr val="FFFFFF"/>
                        </a:solidFill>
                      </a:rPr>
                      <a:t>4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7.523651</c:v>
                </c:pt>
                <c:pt idx="1">
                  <c:v>71.578042</c:v>
                </c:pt>
                <c:pt idx="2">
                  <c:v>48.40280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6.492195</c:v>
                </c:pt>
                <c:pt idx="1">
                  <c:v>20.019585</c:v>
                </c:pt>
                <c:pt idx="2">
                  <c:v>14.42021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3</a:t>
                    </a:r>
                  </a:p>
                </c:rich>
              </c:tx>
              <c:showLegendKey val="0"/>
              <c:showVal val="1"/>
              <c:showCatName val="0"/>
              <c:showSerName val="0"/>
              <c:showPercent val="0"/>
              <c:showBubbleSize val="0"/>
            </c:dLbl>
            <c:dLbl>
              <c:idx val="2"/>
              <c:tx>
                <c:rich>
                  <a:bodyPr/>
                  <a:lstStyle/>
                  <a:p>
                    <a:r>
                      <a:rPr>
                        <a:solidFill>
                          <a:srgbClr val="FFFFFF"/>
                        </a:solidFill>
                      </a:rPr>
                      <a:t>1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335777</c:v>
                </c:pt>
                <c:pt idx="1">
                  <c:v>15.348182</c:v>
                </c:pt>
                <c:pt idx="2">
                  <c:v>10.97873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411.6</a:t>
                    </a:r>
                  </a:p>
                </c:rich>
              </c:tx>
              <c:showLegendKey val="0"/>
              <c:showVal val="1"/>
              <c:showCatName val="0"/>
              <c:showSerName val="0"/>
              <c:showPercent val="0"/>
              <c:showBubbleSize val="0"/>
            </c:dLbl>
            <c:dLbl>
              <c:idx val="1"/>
              <c:tx>
                <c:rich>
                  <a:bodyPr/>
                  <a:lstStyle/>
                  <a:p>
                    <a:r>
                      <a:rPr>
                        <a:solidFill>
                          <a:srgbClr val="FFFFFF"/>
                        </a:solidFill>
                      </a:rPr>
                      <a:t>407.8</a:t>
                    </a:r>
                  </a:p>
                </c:rich>
              </c:tx>
              <c:showLegendKey val="0"/>
              <c:showVal val="1"/>
              <c:showCatName val="0"/>
              <c:showSerName val="0"/>
              <c:showPercent val="0"/>
              <c:showBubbleSize val="0"/>
            </c:dLbl>
            <c:dLbl>
              <c:idx val="2"/>
              <c:tx>
                <c:rich>
                  <a:bodyPr/>
                  <a:lstStyle/>
                  <a:p>
                    <a:r>
                      <a:rPr>
                        <a:solidFill>
                          <a:srgbClr val="FFFFFF"/>
                        </a:solidFill>
                      </a:rPr>
                      <a:t>28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11.644118</c:v>
                </c:pt>
                <c:pt idx="1">
                  <c:v>407.754859</c:v>
                </c:pt>
                <c:pt idx="2">
                  <c:v>289.518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91.2</a:t>
                    </a:r>
                  </a:p>
                </c:rich>
              </c:tx>
              <c:showLegendKey val="0"/>
              <c:showVal val="1"/>
              <c:showCatName val="0"/>
              <c:showSerName val="0"/>
              <c:showPercent val="0"/>
              <c:showBubbleSize val="0"/>
            </c:dLbl>
            <c:dLbl>
              <c:idx val="1"/>
              <c:tx>
                <c:rich>
                  <a:bodyPr/>
                  <a:lstStyle/>
                  <a:p>
                    <a:r>
                      <a:rPr>
                        <a:solidFill>
                          <a:srgbClr val="FFFFFF"/>
                        </a:solidFill>
                      </a:rPr>
                      <a:t>101.3</a:t>
                    </a:r>
                  </a:p>
                </c:rich>
              </c:tx>
              <c:showLegendKey val="0"/>
              <c:showVal val="1"/>
              <c:showCatName val="0"/>
              <c:showSerName val="0"/>
              <c:showPercent val="0"/>
              <c:showBubbleSize val="0"/>
            </c:dLbl>
            <c:dLbl>
              <c:idx val="2"/>
              <c:tx>
                <c:rich>
                  <a:bodyPr/>
                  <a:lstStyle/>
                  <a:p>
                    <a:r>
                      <a:rPr>
                        <a:solidFill>
                          <a:srgbClr val="FFFFFF"/>
                        </a:solidFill>
                      </a:rPr>
                      <a:t>7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91.222246</c:v>
                </c:pt>
                <c:pt idx="1">
                  <c:v>101.318395</c:v>
                </c:pt>
                <c:pt idx="2">
                  <c:v>75.6256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96.0</a:t>
                    </a:r>
                  </a:p>
                </c:rich>
              </c:tx>
              <c:showLegendKey val="0"/>
              <c:showVal val="1"/>
              <c:showCatName val="0"/>
              <c:showSerName val="0"/>
              <c:showPercent val="0"/>
              <c:showBubbleSize val="0"/>
            </c:dLbl>
            <c:dLbl>
              <c:idx val="1"/>
              <c:tx>
                <c:rich>
                  <a:bodyPr/>
                  <a:lstStyle/>
                  <a:p>
                    <a:r>
                      <a:rPr>
                        <a:solidFill>
                          <a:srgbClr val="FFFFFF"/>
                        </a:solidFill>
                      </a:rPr>
                      <a:t>99.5</a:t>
                    </a:r>
                  </a:p>
                </c:rich>
              </c:tx>
              <c:showLegendKey val="0"/>
              <c:showVal val="1"/>
              <c:showCatName val="0"/>
              <c:showSerName val="0"/>
              <c:showPercent val="0"/>
              <c:showBubbleSize val="0"/>
            </c:dLbl>
            <c:dLbl>
              <c:idx val="2"/>
              <c:tx>
                <c:rich>
                  <a:bodyPr/>
                  <a:lstStyle/>
                  <a:p>
                    <a:r>
                      <a:rPr>
                        <a:solidFill>
                          <a:srgbClr val="FFFFFF"/>
                        </a:solidFill>
                      </a:rPr>
                      <a:t>6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96.018805</c:v>
                </c:pt>
                <c:pt idx="1">
                  <c:v>99.486092</c:v>
                </c:pt>
                <c:pt idx="2">
                  <c:v>69.1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a:solidFill>
                          <a:srgbClr val="FFFFFF"/>
                        </a:solidFill>
                      </a:rPr>
                      <a:t>71.1</a:t>
                    </a:r>
                  </a:p>
                </c:rich>
              </c:tx>
              <c:showLegendKey val="0"/>
              <c:showVal val="1"/>
              <c:showCatName val="0"/>
              <c:showSerName val="0"/>
              <c:showPercent val="0"/>
              <c:showBubbleSize val="0"/>
            </c:dLbl>
            <c:dLbl>
              <c:idx val="1"/>
              <c:tx>
                <c:rich>
                  <a:bodyPr/>
                  <a:lstStyle/>
                  <a:p>
                    <a:r>
                      <a:rPr>
                        <a:solidFill>
                          <a:srgbClr val="FFFFFF"/>
                        </a:solidFill>
                      </a:rPr>
                      <a:t>73.5</a:t>
                    </a:r>
                  </a:p>
                </c:rich>
              </c:tx>
              <c:showLegendKey val="0"/>
              <c:showVal val="1"/>
              <c:showCatName val="0"/>
              <c:showSerName val="0"/>
              <c:showPercent val="0"/>
              <c:showBubbleSize val="0"/>
            </c:dLbl>
            <c:dLbl>
              <c:idx val="2"/>
              <c:tx>
                <c:rich>
                  <a:bodyPr/>
                  <a:lstStyle/>
                  <a:p>
                    <a:r>
                      <a:rPr>
                        <a:solidFill>
                          <a:srgbClr val="FFFFFF"/>
                        </a:solidFill>
                      </a:rPr>
                      <a:t>5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1.100774</c:v>
                </c:pt>
                <c:pt idx="1">
                  <c:v>73.489146</c:v>
                </c:pt>
                <c:pt idx="2">
                  <c:v>52.67746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53.2</a:t>
                    </a:r>
                  </a:p>
                </c:rich>
              </c:tx>
              <c:showLegendKey val="0"/>
              <c:showVal val="1"/>
              <c:showCatName val="0"/>
              <c:showSerName val="0"/>
              <c:showPercent val="0"/>
              <c:showBubbleSize val="0"/>
            </c:dLbl>
            <c:dLbl>
              <c:idx val="1"/>
              <c:tx>
                <c:rich>
                  <a:bodyPr/>
                  <a:lstStyle/>
                  <a:p>
                    <a:r>
                      <a:rPr>
                        <a:solidFill>
                          <a:srgbClr val="FFFFFF"/>
                        </a:solidFill>
                      </a:rPr>
                      <a:t>62.3</a:t>
                    </a:r>
                  </a:p>
                </c:rich>
              </c:tx>
              <c:showLegendKey val="0"/>
              <c:showVal val="1"/>
              <c:showCatName val="0"/>
              <c:showSerName val="0"/>
              <c:showPercent val="0"/>
              <c:showBubbleSize val="0"/>
            </c:dLbl>
            <c:dLbl>
              <c:idx val="2"/>
              <c:tx>
                <c:rich>
                  <a:bodyPr/>
                  <a:lstStyle/>
                  <a:p>
                    <a:r>
                      <a:rPr>
                        <a:solidFill>
                          <a:srgbClr val="FFFFFF"/>
                        </a:solidFill>
                      </a:rPr>
                      <a:t>4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3.219016</c:v>
                </c:pt>
                <c:pt idx="1">
                  <c:v>62.270986</c:v>
                </c:pt>
                <c:pt idx="2">
                  <c:v>41.8433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1</a:t>
                    </a:r>
                  </a:p>
                </c:rich>
              </c:tx>
              <c:showLegendKey val="0"/>
              <c:showVal val="1"/>
              <c:showCatName val="0"/>
              <c:showSerName val="0"/>
              <c:showPercent val="0"/>
              <c:showBubbleSize val="0"/>
            </c:dLbl>
            <c:dLbl>
              <c:idx val="1"/>
              <c:tx>
                <c:rich>
                  <a:bodyPr/>
                  <a:lstStyle/>
                  <a:p>
                    <a:r>
                      <a:rPr>
                        <a:solidFill>
                          <a:srgbClr val="FFFFFF"/>
                        </a:solidFill>
                      </a:rPr>
                      <a:t>9.8</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1.06757</c:v>
                </c:pt>
                <c:pt idx="1">
                  <c:v>9.82657</c:v>
                </c:pt>
                <c:pt idx="2">
                  <c:v>8.2132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81101</c:v>
                </c:pt>
                <c:pt idx="1">
                  <c:v>0.561741</c:v>
                </c:pt>
                <c:pt idx="2">
                  <c:v>0.3320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697737</c:v>
                </c:pt>
                <c:pt idx="1">
                  <c:v>9.376224</c:v>
                </c:pt>
                <c:pt idx="2">
                  <c:v>8.30506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340605</c:v>
                </c:pt>
                <c:pt idx="1">
                  <c:v>8.828621</c:v>
                </c:pt>
                <c:pt idx="2">
                  <c:v>6.51629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91888</c:v>
                </c:pt>
                <c:pt idx="1">
                  <c:v>1.296407</c:v>
                </c:pt>
                <c:pt idx="2">
                  <c:v>1.2428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05243</c:v>
                </c:pt>
                <c:pt idx="1">
                  <c:v>0.220173</c:v>
                </c:pt>
                <c:pt idx="2">
                  <c:v>0.1595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59685</c:v>
                </c:pt>
                <c:pt idx="1">
                  <c:v>1.753577</c:v>
                </c:pt>
                <c:pt idx="2">
                  <c:v>1.0884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4</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298396</c:v>
                </c:pt>
                <c:pt idx="1">
                  <c:v>8.38704</c:v>
                </c:pt>
                <c:pt idx="2">
                  <c:v>5.9121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064097</c:v>
                </c:pt>
                <c:pt idx="1">
                  <c:v>5.022017</c:v>
                </c:pt>
                <c:pt idx="2">
                  <c:v>2.8755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77386</c:v>
                </c:pt>
                <c:pt idx="1">
                  <c:v>1.236049</c:v>
                </c:pt>
                <c:pt idx="2">
                  <c:v>0.8912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65415</c:v>
                </c:pt>
                <c:pt idx="1">
                  <c:v>0.116812</c:v>
                </c:pt>
                <c:pt idx="2">
                  <c:v>0.042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8.6</a:t>
                    </a:r>
                  </a:p>
                </c:rich>
              </c:tx>
              <c:showLegendKey val="0"/>
              <c:showVal val="1"/>
              <c:showCatName val="0"/>
              <c:showSerName val="0"/>
              <c:showPercent val="0"/>
              <c:showBubbleSize val="0"/>
            </c:dLbl>
            <c:dLbl>
              <c:idx val="1"/>
              <c:tx>
                <c:rich>
                  <a:bodyPr/>
                  <a:lstStyle/>
                  <a:p>
                    <a:r>
                      <a:rPr>
                        <a:solidFill>
                          <a:srgbClr val="FFFFFF"/>
                        </a:solidFill>
                      </a:rPr>
                      <a:t>36.1</a:t>
                    </a:r>
                  </a:p>
                </c:rich>
              </c:tx>
              <c:showLegendKey val="0"/>
              <c:showVal val="1"/>
              <c:showCatName val="0"/>
              <c:showSerName val="0"/>
              <c:showPercent val="0"/>
              <c:showBubbleSize val="0"/>
            </c:dLbl>
            <c:dLbl>
              <c:idx val="2"/>
              <c:tx>
                <c:rich>
                  <a:bodyPr/>
                  <a:lstStyle/>
                  <a:p>
                    <a:r>
                      <a:rPr>
                        <a:solidFill>
                          <a:srgbClr val="FFFFFF"/>
                        </a:solidFill>
                      </a:rPr>
                      <a:t>2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8.603643</c:v>
                </c:pt>
                <c:pt idx="1">
                  <c:v>36.062461</c:v>
                </c:pt>
                <c:pt idx="2">
                  <c:v>24.0989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4.9</a:t>
                    </a:r>
                  </a:p>
                </c:rich>
              </c:tx>
              <c:showLegendKey val="0"/>
              <c:showVal val="1"/>
              <c:showCatName val="0"/>
              <c:showSerName val="0"/>
              <c:showPercent val="0"/>
              <c:showBubbleSize val="0"/>
            </c:dLbl>
            <c:dLbl>
              <c:idx val="1"/>
              <c:tx>
                <c:rich>
                  <a:bodyPr/>
                  <a:lstStyle/>
                  <a:p>
                    <a:r>
                      <a:rPr>
                        <a:solidFill>
                          <a:srgbClr val="FFFFFF"/>
                        </a:solidFill>
                      </a:rPr>
                      <a:t>16.3</a:t>
                    </a:r>
                  </a:p>
                </c:rich>
              </c:tx>
              <c:showLegendKey val="0"/>
              <c:showVal val="1"/>
              <c:showCatName val="0"/>
              <c:showSerName val="0"/>
              <c:showPercent val="0"/>
              <c:showBubbleSize val="0"/>
            </c:dLbl>
            <c:dLbl>
              <c:idx val="2"/>
              <c:tx>
                <c:rich>
                  <a:bodyPr/>
                  <a:lstStyle/>
                  <a:p>
                    <a:r>
                      <a:rPr>
                        <a:solidFill>
                          <a:srgbClr val="FFFFFF"/>
                        </a:solidFill>
                      </a:rPr>
                      <a:t>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4.859587</c:v>
                </c:pt>
                <c:pt idx="1">
                  <c:v>16.283593</c:v>
                </c:pt>
                <c:pt idx="2">
                  <c:v>9.5678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328519</c:v>
                </c:pt>
                <c:pt idx="1">
                  <c:v>4.733856</c:v>
                </c:pt>
                <c:pt idx="2">
                  <c:v>3.11158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72859</c:v>
                </c:pt>
                <c:pt idx="1">
                  <c:v>0.298923</c:v>
                </c:pt>
                <c:pt idx="2">
                  <c:v>0.093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828285</c:v>
                </c:pt>
                <c:pt idx="1">
                  <c:v>3.063591</c:v>
                </c:pt>
                <c:pt idx="2">
                  <c:v>2.8227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20897</c:v>
                </c:pt>
                <c:pt idx="1">
                  <c:v>2.252407</c:v>
                </c:pt>
                <c:pt idx="2">
                  <c:v>1.5267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8518</c:v>
                </c:pt>
                <c:pt idx="1">
                  <c:v>0.006027</c:v>
                </c:pt>
                <c:pt idx="2">
                  <c:v>0.041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683</c:v>
                </c:pt>
                <c:pt idx="1">
                  <c:v>0.000561</c:v>
                </c:pt>
                <c:pt idx="2">
                  <c:v>0.00033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9.6</a:t>
                    </a:r>
                  </a:p>
                </c:rich>
              </c:tx>
              <c:showLegendKey val="0"/>
              <c:showVal val="1"/>
              <c:showCatName val="0"/>
              <c:showSerName val="0"/>
              <c:showPercent val="0"/>
              <c:showBubbleSize val="0"/>
            </c:dLbl>
            <c:dLbl>
              <c:idx val="1"/>
              <c:tx>
                <c:rich>
                  <a:bodyPr/>
                  <a:lstStyle/>
                  <a:p>
                    <a:r>
                      <a:rPr>
                        <a:solidFill>
                          <a:srgbClr val="FFFFFF"/>
                        </a:solidFill>
                      </a:rPr>
                      <a:t>9.7</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57392</c:v>
                </c:pt>
                <c:pt idx="1">
                  <c:v>9.674608</c:v>
                </c:pt>
                <c:pt idx="2">
                  <c:v>8.171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316404</c:v>
                </c:pt>
                <c:pt idx="1">
                  <c:v>8.756074</c:v>
                </c:pt>
                <c:pt idx="2">
                  <c:v>5.7410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70969</c:v>
                </c:pt>
                <c:pt idx="1">
                  <c:v>0.017255</c:v>
                </c:pt>
                <c:pt idx="2">
                  <c:v>0.286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351</c:v>
                </c:pt>
                <c:pt idx="1">
                  <c:v>0.001195</c:v>
                </c:pt>
                <c:pt idx="2">
                  <c:v>0.0008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4</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588836</c:v>
                </c:pt>
                <c:pt idx="1">
                  <c:v>17.355962</c:v>
                </c:pt>
                <c:pt idx="2">
                  <c:v>14.0204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7</a:t>
                    </a:r>
                  </a:p>
                </c:rich>
              </c:tx>
              <c:showLegendKey val="0"/>
              <c:showVal val="1"/>
              <c:showCatName val="0"/>
              <c:showSerName val="0"/>
              <c:showPercent val="0"/>
              <c:showBubbleSize val="0"/>
            </c:dLbl>
            <c:dLbl>
              <c:idx val="2"/>
              <c:tx>
                <c:rich>
                  <a:bodyPr/>
                  <a:lstStyle/>
                  <a:p>
                    <a:r>
                      <a:rPr>
                        <a:solidFill>
                          <a:srgbClr val="FFFFFF"/>
                        </a:solidFill>
                      </a:rPr>
                      <a:t>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074825</c:v>
                </c:pt>
                <c:pt idx="1">
                  <c:v>10.735831</c:v>
                </c:pt>
                <c:pt idx="2">
                  <c:v>9.75918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0</a:t>
                    </a:r>
                  </a:p>
                </c:rich>
              </c:tx>
              <c:showLegendKey val="0"/>
              <c:showVal val="1"/>
              <c:showCatName val="0"/>
              <c:showSerName val="0"/>
              <c:showPercent val="0"/>
              <c:showBubbleSize val="0"/>
            </c:dLbl>
            <c:dLbl>
              <c:idx val="2"/>
              <c:tx>
                <c:rich>
                  <a:bodyPr/>
                  <a:lstStyle/>
                  <a:p>
                    <a:r>
                      <a:rPr>
                        <a:solidFill>
                          <a:srgbClr val="FFFFFF"/>
                        </a:solidFill>
                      </a:rPr>
                      <a:t>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2.282578</c:v>
                </c:pt>
                <c:pt idx="1">
                  <c:v>11.965887</c:v>
                </c:pt>
                <c:pt idx="2">
                  <c:v>8.6410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335685</c:v>
                </c:pt>
                <c:pt idx="1">
                  <c:v>4.221758</c:v>
                </c:pt>
                <c:pt idx="2">
                  <c:v>3.04183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492276</c:v>
                </c:pt>
                <c:pt idx="1">
                  <c:v>1.399051</c:v>
                </c:pt>
                <c:pt idx="2">
                  <c:v>1.58181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824306</c:v>
                </c:pt>
                <c:pt idx="1">
                  <c:v>0.935662</c:v>
                </c:pt>
                <c:pt idx="2">
                  <c:v>0.7127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7</a:t>
                    </a:r>
                  </a:p>
                </c:rich>
              </c:tx>
              <c:showLegendKey val="0"/>
              <c:showVal val="1"/>
              <c:showCatName val="0"/>
              <c:showSerName val="0"/>
              <c:showPercent val="0"/>
              <c:showBubbleSize val="0"/>
            </c:dLbl>
            <c:dLbl>
              <c:idx val="2"/>
              <c:tx>
                <c:rich>
                  <a:bodyPr/>
                  <a:lstStyle/>
                  <a:p>
                    <a:r>
                      <a:rPr>
                        <a:solidFill>
                          <a:srgbClr val="FFFFFF"/>
                        </a:solidFill>
                      </a:rPr>
                      <a:t>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304854</c:v>
                </c:pt>
                <c:pt idx="1">
                  <c:v>11.71115</c:v>
                </c:pt>
                <c:pt idx="2">
                  <c:v>9.2362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095286</c:v>
                </c:pt>
                <c:pt idx="1">
                  <c:v>10.555237</c:v>
                </c:pt>
                <c:pt idx="2">
                  <c:v>5.7960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7</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4.648077</c:v>
                </c:pt>
                <c:pt idx="1">
                  <c:v>11.705594</c:v>
                </c:pt>
                <c:pt idx="2">
                  <c:v>7.47596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33</c:v>
                </c:pt>
                <c:pt idx="1">
                  <c:v>0.000394</c:v>
                </c:pt>
                <c:pt idx="2">
                  <c:v>6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2.8</a:t>
                    </a:r>
                  </a:p>
                </c:rich>
              </c:tx>
              <c:showLegendKey val="0"/>
              <c:showVal val="1"/>
              <c:showCatName val="0"/>
              <c:showSerName val="0"/>
              <c:showPercent val="0"/>
              <c:showBubbleSize val="0"/>
            </c:dLbl>
            <c:dLbl>
              <c:idx val="1"/>
              <c:tx>
                <c:rich>
                  <a:bodyPr/>
                  <a:lstStyle/>
                  <a:p>
                    <a:r>
                      <a:rPr>
                        <a:solidFill>
                          <a:srgbClr val="FFFFFF"/>
                        </a:solidFill>
                      </a:rPr>
                      <a:t>30.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75185</c:v>
                </c:pt>
                <c:pt idx="1">
                  <c:v>30.786813</c:v>
                </c:pt>
                <c:pt idx="2">
                  <c:v>25.00508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32.2</a:t>
                    </a:r>
                  </a:p>
                </c:rich>
              </c:tx>
              <c:showLegendKey val="0"/>
              <c:showVal val="1"/>
              <c:showCatName val="0"/>
              <c:showSerName val="0"/>
              <c:showPercent val="0"/>
              <c:showBubbleSize val="0"/>
            </c:dLbl>
            <c:dLbl>
              <c:idx val="1"/>
              <c:tx>
                <c:rich>
                  <a:bodyPr/>
                  <a:lstStyle/>
                  <a:p>
                    <a:r>
                      <a:rPr>
                        <a:solidFill>
                          <a:srgbClr val="FFFFFF"/>
                        </a:solidFill>
                      </a:rPr>
                      <a:t>34.0</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2.150228</c:v>
                </c:pt>
                <c:pt idx="1">
                  <c:v>34.019699</c:v>
                </c:pt>
                <c:pt idx="2">
                  <c:v>18.8016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22.4</a:t>
                    </a:r>
                  </a:p>
                </c:rich>
              </c:tx>
              <c:showLegendKey val="0"/>
              <c:showVal val="1"/>
              <c:showCatName val="0"/>
              <c:showSerName val="0"/>
              <c:showPercent val="0"/>
              <c:showBubbleSize val="0"/>
            </c:dLbl>
            <c:dLbl>
              <c:idx val="1"/>
              <c:tx>
                <c:rich>
                  <a:bodyPr/>
                  <a:lstStyle/>
                  <a:p>
                    <a:r>
                      <a:rPr>
                        <a:solidFill>
                          <a:srgbClr val="FFFFFF"/>
                        </a:solidFill>
                      </a:rPr>
                      <a:t>19.6</a:t>
                    </a:r>
                  </a:p>
                </c:rich>
              </c:tx>
              <c:showLegendKey val="0"/>
              <c:showVal val="1"/>
              <c:showCatName val="0"/>
              <c:showSerName val="0"/>
              <c:showPercent val="0"/>
              <c:showBubbleSize val="0"/>
            </c:dLbl>
            <c:dLbl>
              <c:idx val="2"/>
              <c:tx>
                <c:rich>
                  <a:bodyPr/>
                  <a:lstStyle/>
                  <a:p>
                    <a:r>
                      <a:rPr>
                        <a:solidFill>
                          <a:srgbClr val="FFFFFF"/>
                        </a:solidFill>
                      </a:rPr>
                      <a:t>1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2.444246</c:v>
                </c:pt>
                <c:pt idx="1">
                  <c:v>19.611329</c:v>
                </c:pt>
                <c:pt idx="2">
                  <c:v>12.09134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267</c:v>
                </c:pt>
                <c:pt idx="1">
                  <c:v>0.000299</c:v>
                </c:pt>
                <c:pt idx="2">
                  <c:v>5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7693</c:v>
                </c:pt>
                <c:pt idx="1">
                  <c:v>0.153487</c:v>
                </c:pt>
                <c:pt idx="2">
                  <c:v>0.1337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16543</c:v>
                </c:pt>
                <c:pt idx="1">
                  <c:v>0.6195</c:v>
                </c:pt>
                <c:pt idx="2">
                  <c:v>0.4952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578</c:v>
                </c:pt>
                <c:pt idx="1">
                  <c:v>0.837311</c:v>
                </c:pt>
                <c:pt idx="2">
                  <c:v>0.5236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8893</c:v>
                </c:pt>
                <c:pt idx="1">
                  <c:v>0.056459</c:v>
                </c:pt>
                <c:pt idx="2">
                  <c:v>0.00123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7312</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256</c:v>
                </c:pt>
                <c:pt idx="1">
                  <c:v>0.609096</c:v>
                </c:pt>
                <c:pt idx="2">
                  <c:v>0.4463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2559</c:v>
                </c:pt>
                <c:pt idx="1">
                  <c:v>0.035763</c:v>
                </c:pt>
                <c:pt idx="2">
                  <c:v>0.02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240852</c:v>
                </c:pt>
                <c:pt idx="1">
                  <c:v>0.013766</c:v>
                </c:pt>
                <c:pt idx="2">
                  <c:v>0.00010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37312</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11058</c:v>
                </c:pt>
                <c:pt idx="1">
                  <c:v>2.329295</c:v>
                </c:pt>
                <c:pt idx="2">
                  <c:v>1.7577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01601</c:v>
                </c:pt>
                <c:pt idx="1">
                  <c:v>0.973583</c:v>
                </c:pt>
                <c:pt idx="2">
                  <c:v>0.46810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61462</c:v>
                </c:pt>
                <c:pt idx="1">
                  <c:v>0.011659</c:v>
                </c:pt>
                <c:pt idx="2">
                  <c:v>4e-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8925</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828285</c:v>
                </c:pt>
                <c:pt idx="1">
                  <c:v>3.063591</c:v>
                </c:pt>
                <c:pt idx="2">
                  <c:v>2.8227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20897</c:v>
                </c:pt>
                <c:pt idx="1">
                  <c:v>2.252407</c:v>
                </c:pt>
                <c:pt idx="2">
                  <c:v>1.5267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8518</c:v>
                </c:pt>
                <c:pt idx="1">
                  <c:v>0.006027</c:v>
                </c:pt>
                <c:pt idx="2">
                  <c:v>0.041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683</c:v>
                </c:pt>
                <c:pt idx="1">
                  <c:v>0.000561</c:v>
                </c:pt>
                <c:pt idx="2">
                  <c:v>0.00033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9.6</a:t>
                    </a:r>
                  </a:p>
                </c:rich>
              </c:tx>
              <c:showLegendKey val="0"/>
              <c:showVal val="1"/>
              <c:showCatName val="0"/>
              <c:showSerName val="0"/>
              <c:showPercent val="0"/>
              <c:showBubbleSize val="0"/>
            </c:dLbl>
            <c:dLbl>
              <c:idx val="1"/>
              <c:tx>
                <c:rich>
                  <a:bodyPr/>
                  <a:lstStyle/>
                  <a:p>
                    <a:r>
                      <a:rPr>
                        <a:solidFill>
                          <a:srgbClr val="FFFFFF"/>
                        </a:solidFill>
                      </a:rPr>
                      <a:t>9.7</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57392</c:v>
                </c:pt>
                <c:pt idx="1">
                  <c:v>9.674608</c:v>
                </c:pt>
                <c:pt idx="2">
                  <c:v>8.171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8.3</a:t>
                    </a:r>
                  </a:p>
                </c:rich>
              </c:tx>
              <c:showLegendKey val="0"/>
              <c:showVal val="1"/>
              <c:showCatName val="0"/>
              <c:showSerName val="0"/>
              <c:showPercent val="0"/>
              <c:showBubbleSize val="0"/>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316404</c:v>
                </c:pt>
                <c:pt idx="1">
                  <c:v>8.756074</c:v>
                </c:pt>
                <c:pt idx="2">
                  <c:v>5.7410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70969</c:v>
                </c:pt>
                <c:pt idx="1">
                  <c:v>0.017255</c:v>
                </c:pt>
                <c:pt idx="2">
                  <c:v>0.28611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351</c:v>
                </c:pt>
                <c:pt idx="1">
                  <c:v>0.001195</c:v>
                </c:pt>
                <c:pt idx="2">
                  <c:v>0.0008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62824</c:v>
                </c:pt>
                <c:pt idx="1">
                  <c:v>2.340615</c:v>
                </c:pt>
                <c:pt idx="2">
                  <c:v>1.5899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16898</c:v>
                </c:pt>
                <c:pt idx="1">
                  <c:v>0.190077</c:v>
                </c:pt>
                <c:pt idx="2">
                  <c:v>0.004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8925</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42295</c:v>
                </c:pt>
                <c:pt idx="1">
                  <c:v>0.790296</c:v>
                </c:pt>
                <c:pt idx="2">
                  <c:v>0.352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7654</c:v>
                </c:pt>
                <c:pt idx="1">
                  <c:v>0.305364</c:v>
                </c:pt>
                <c:pt idx="2">
                  <c:v>0.1632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15529</c:v>
                </c:pt>
                <c:pt idx="1">
                  <c:v>0.451136</c:v>
                </c:pt>
                <c:pt idx="2">
                  <c:v>0.3132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65909</c:v>
                </c:pt>
                <c:pt idx="1">
                  <c:v>0.180703</c:v>
                </c:pt>
                <c:pt idx="2">
                  <c:v>0.1186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65957</c:v>
                </c:pt>
                <c:pt idx="1">
                  <c:v>0.35578</c:v>
                </c:pt>
                <c:pt idx="2">
                  <c:v>0.2283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0967</c:v>
                </c:pt>
                <c:pt idx="1">
                  <c:v>0.090624</c:v>
                </c:pt>
                <c:pt idx="2">
                  <c:v>0.0808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0306</c:v>
                </c:pt>
                <c:pt idx="1">
                  <c:v>0.255896</c:v>
                </c:pt>
                <c:pt idx="2">
                  <c:v>0.1735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Procter &amp; Gamb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0469</c:v>
                </c:pt>
                <c:pt idx="1">
                  <c:v>0.083518</c:v>
                </c:pt>
                <c:pt idx="2">
                  <c:v>0.0121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99545</c:v>
                </c:pt>
                <c:pt idx="2">
                  <c:v>0.10404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00367</c:v>
                </c:pt>
                <c:pt idx="1">
                  <c:v>0.046194</c:v>
                </c:pt>
                <c:pt idx="2">
                  <c:v>0.0238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887411</c:v>
                </c:pt>
                <c:pt idx="1">
                  <c:v>2.353616</c:v>
                </c:pt>
                <c:pt idx="2">
                  <c:v>1.05966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94629</c:v>
                </c:pt>
                <c:pt idx="1">
                  <c:v>0.550233</c:v>
                </c:pt>
                <c:pt idx="2">
                  <c:v>0.292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20172</c:v>
                </c:pt>
                <c:pt idx="1">
                  <c:v>0.464172</c:v>
                </c:pt>
                <c:pt idx="2">
                  <c:v>0.32641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4102</c:v>
                </c:pt>
                <c:pt idx="1">
                  <c:v>0.266947</c:v>
                </c:pt>
                <c:pt idx="2">
                  <c:v>0.1750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27834</c:v>
                </c:pt>
                <c:pt idx="1">
                  <c:v>0.330987</c:v>
                </c:pt>
                <c:pt idx="2">
                  <c:v>0.219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67408</c:v>
                </c:pt>
                <c:pt idx="1">
                  <c:v>0.258709</c:v>
                </c:pt>
                <c:pt idx="2">
                  <c:v>0.2428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4164</c:v>
                </c:pt>
                <c:pt idx="1">
                  <c:v>0.200738</c:v>
                </c:pt>
                <c:pt idx="2">
                  <c:v>0.14398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Procter &amp; Gamble</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82901</c:v>
                </c:pt>
                <c:pt idx="1">
                  <c:v>0.245333</c:v>
                </c:pt>
                <c:pt idx="2">
                  <c:v>0.04627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165657</c:v>
                </c:pt>
                <c:pt idx="2">
                  <c:v>0.1727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83742</c:v>
                </c:pt>
                <c:pt idx="1">
                  <c:v>0.14792</c:v>
                </c:pt>
                <c:pt idx="2">
                  <c:v>0.0853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14921</c:v>
                </c:pt>
                <c:pt idx="1">
                  <c:v>1.711181</c:v>
                </c:pt>
                <c:pt idx="2">
                  <c:v>1.2883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43049</c:v>
                </c:pt>
                <c:pt idx="1">
                  <c:v>1.377819</c:v>
                </c:pt>
                <c:pt idx="2">
                  <c:v>0.7407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999988</c:v>
                </c:pt>
                <c:pt idx="1">
                  <c:v>1.569567</c:v>
                </c:pt>
                <c:pt idx="2">
                  <c:v>0.9574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1e-05</c:v>
                </c:pt>
                <c:pt idx="1">
                  <c:v>3.6e-05</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4.7</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683844</c:v>
                </c:pt>
                <c:pt idx="1">
                  <c:v>4.166761</c:v>
                </c:pt>
                <c:pt idx="2">
                  <c:v>3.27539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261187</c:v>
                </c:pt>
                <c:pt idx="1">
                  <c:v>4.47014</c:v>
                </c:pt>
                <c:pt idx="2">
                  <c:v>2.40234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055343</c:v>
                </c:pt>
                <c:pt idx="1">
                  <c:v>2.657571</c:v>
                </c:pt>
                <c:pt idx="2">
                  <c:v>1.57291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3e-05</c:v>
                </c:pt>
                <c:pt idx="1">
                  <c:v>1.2e-05</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4</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777604</c:v>
                </c:pt>
                <c:pt idx="1">
                  <c:v>6.441963</c:v>
                </c:pt>
                <c:pt idx="2">
                  <c:v>5.50720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582898</c:v>
                </c:pt>
                <c:pt idx="1">
                  <c:v>3.4805</c:v>
                </c:pt>
                <c:pt idx="2">
                  <c:v>1.7021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5</c:v>
                </c:pt>
                <c:pt idx="1">
                  <c:v>0.008703</c:v>
                </c:pt>
                <c:pt idx="2">
                  <c:v>0.0063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4089</c:v>
                </c:pt>
                <c:pt idx="1">
                  <c:v>0.265816</c:v>
                </c:pt>
                <c:pt idx="2">
                  <c:v>0.17098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eflect O Corp</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3615</c:v>
                </c:pt>
                <c:pt idx="1">
                  <c:v>0.300481</c:v>
                </c:pt>
                <c:pt idx="2">
                  <c:v>0.220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9312</c:v>
                </c:pt>
                <c:pt idx="1">
                  <c:v>0.112459</c:v>
                </c:pt>
                <c:pt idx="2">
                  <c:v>0.0827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52</c:v>
                </c:pt>
                <c:pt idx="1">
                  <c:v>0.057086</c:v>
                </c:pt>
                <c:pt idx="2">
                  <c:v>0.04584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77199</c:v>
                </c:pt>
                <c:pt idx="1">
                  <c:v>0.172684</c:v>
                </c:pt>
                <c:pt idx="2">
                  <c:v>0.1153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8535</c:v>
                </c:pt>
                <c:pt idx="1">
                  <c:v>0.032213</c:v>
                </c:pt>
                <c:pt idx="2">
                  <c:v>0.0008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rocter &amp; Gambl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3e-06</c:v>
                </c:pt>
                <c:pt idx="1">
                  <c:v>0.059007</c:v>
                </c:pt>
                <c:pt idx="2">
                  <c:v>0.00241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7015</c:v>
                </c:pt>
                <c:pt idx="1">
                  <c:v>0.006971</c:v>
                </c:pt>
                <c:pt idx="2">
                  <c:v>0.0111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8843</c:v>
                </c:pt>
                <c:pt idx="1">
                  <c:v>0.802816</c:v>
                </c:pt>
                <c:pt idx="2">
                  <c:v>0.4841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eflect O Corp</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7528</c:v>
                </c:pt>
                <c:pt idx="1">
                  <c:v>0.313985</c:v>
                </c:pt>
                <c:pt idx="2">
                  <c:v>0.2126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8585</c:v>
                </c:pt>
                <c:pt idx="1">
                  <c:v>0.1918</c:v>
                </c:pt>
                <c:pt idx="2">
                  <c:v>0.142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5378</c:v>
                </c:pt>
                <c:pt idx="1">
                  <c:v>0.162015</c:v>
                </c:pt>
                <c:pt idx="2">
                  <c:v>0.137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7559</c:v>
                </c:pt>
                <c:pt idx="1">
                  <c:v>0.153881</c:v>
                </c:pt>
                <c:pt idx="2">
                  <c:v>0.1028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6843</c:v>
                </c:pt>
                <c:pt idx="1">
                  <c:v>0.046488</c:v>
                </c:pt>
                <c:pt idx="2">
                  <c:v>0.00116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rocter &amp; Gambl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3.7e-05</c:v>
                </c:pt>
                <c:pt idx="1">
                  <c:v>0.106084</c:v>
                </c:pt>
                <c:pt idx="2">
                  <c:v>0.0019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8029</c:v>
                </c:pt>
                <c:pt idx="1">
                  <c:v>0.011558</c:v>
                </c:pt>
                <c:pt idx="2">
                  <c:v>0.0194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3</a:t>
                    </a:r>
                  </a:p>
                </c:rich>
              </c:tx>
              <c:showLegendKey val="0"/>
              <c:showVal val="1"/>
              <c:showCatName val="0"/>
              <c:showSerName val="0"/>
              <c:showPercent val="0"/>
              <c:showBubbleSize val="0"/>
            </c:dLbl>
            <c:dLbl>
              <c:idx val="2"/>
              <c:tx>
                <c:rich>
                  <a:bodyPr/>
                  <a:lstStyle/>
                  <a:p>
                    <a:r>
                      <a:rPr>
                        <a:solidFill>
                          <a:srgbClr val="FFFFFF"/>
                        </a:solidFill>
                      </a:rPr>
                      <a:t>2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9.935756</c:v>
                </c:pt>
                <c:pt idx="1">
                  <c:v>39.311148</c:v>
                </c:pt>
                <c:pt idx="2">
                  <c:v>27.34367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9</a:t>
                    </a:r>
                  </a:p>
                </c:rich>
              </c:tx>
              <c:showLegendKey val="0"/>
              <c:showVal val="1"/>
              <c:showCatName val="0"/>
              <c:showSerName val="0"/>
              <c:showPercent val="0"/>
              <c:showBubbleSize val="0"/>
            </c:dLbl>
            <c:dLbl>
              <c:idx val="2"/>
              <c:tx>
                <c:rich>
                  <a:bodyPr/>
                  <a:lstStyle/>
                  <a:p>
                    <a:r>
                      <a:rPr>
                        <a:solidFill>
                          <a:srgbClr val="FFFFFF"/>
                        </a:solidFill>
                      </a:rPr>
                      <a:t>3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5.438328</c:v>
                </c:pt>
                <c:pt idx="1">
                  <c:v>55.862027</c:v>
                </c:pt>
                <c:pt idx="2">
                  <c:v>38.61748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5</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2.247768</c:v>
                </c:pt>
                <c:pt idx="1">
                  <c:v>10.486164</c:v>
                </c:pt>
                <c:pt idx="2">
                  <c:v>6.9595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2</a:t>
                    </a:r>
                  </a:p>
                </c:rich>
              </c:tx>
              <c:showLegendKey val="0"/>
              <c:showVal val="1"/>
              <c:showCatName val="0"/>
              <c:showSerName val="0"/>
              <c:showPercent val="0"/>
              <c:showBubbleSize val="0"/>
            </c:dLbl>
            <c:dLbl>
              <c:idx val="2"/>
              <c:tx>
                <c:rich>
                  <a:bodyPr/>
                  <a:lstStyle/>
                  <a:p>
                    <a:r>
                      <a:rPr>
                        <a:solidFill>
                          <a:srgbClr val="FFFFFF"/>
                        </a:solidFill>
                      </a:rPr>
                      <a:t>2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7.292001</c:v>
                </c:pt>
                <c:pt idx="1">
                  <c:v>33.227036</c:v>
                </c:pt>
                <c:pt idx="2">
                  <c:v>22.90377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6301</c:v>
                </c:pt>
                <c:pt idx="1">
                  <c:v>0.83214</c:v>
                </c:pt>
                <c:pt idx="2">
                  <c:v>1.1623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53508</c:v>
                </c:pt>
                <c:pt idx="1">
                  <c:v>0.04871</c:v>
                </c:pt>
                <c:pt idx="2">
                  <c:v>0.0026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01.3</a:t>
                    </a:r>
                  </a:p>
                </c:rich>
              </c:tx>
              <c:showLegendKey val="0"/>
              <c:showVal val="1"/>
              <c:showCatName val="0"/>
              <c:showSerName val="0"/>
              <c:showPercent val="0"/>
              <c:showBubbleSize val="0"/>
            </c:dLbl>
            <c:dLbl>
              <c:idx val="1"/>
              <c:tx>
                <c:rich>
                  <a:bodyPr/>
                  <a:lstStyle/>
                  <a:p>
                    <a:r>
                      <a:rPr>
                        <a:solidFill>
                          <a:srgbClr val="FFFFFF"/>
                        </a:solidFill>
                      </a:rPr>
                      <a:t>98.2</a:t>
                    </a:r>
                  </a:p>
                </c:rich>
              </c:tx>
              <c:showLegendKey val="0"/>
              <c:showVal val="1"/>
              <c:showCatName val="0"/>
              <c:showSerName val="0"/>
              <c:showPercent val="0"/>
              <c:showBubbleSize val="0"/>
            </c:dLbl>
            <c:dLbl>
              <c:idx val="2"/>
              <c:tx>
                <c:rich>
                  <a:bodyPr/>
                  <a:lstStyle/>
                  <a:p>
                    <a:r>
                      <a:rPr>
                        <a:solidFill>
                          <a:srgbClr val="FFFFFF"/>
                        </a:solidFill>
                      </a:rPr>
                      <a:t>7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1.344092</c:v>
                </c:pt>
                <c:pt idx="1">
                  <c:v>98.189493</c:v>
                </c:pt>
                <c:pt idx="2">
                  <c:v>70.51627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34.2</a:t>
                    </a:r>
                  </a:p>
                </c:rich>
              </c:tx>
              <c:showLegendKey val="0"/>
              <c:showVal val="1"/>
              <c:showCatName val="0"/>
              <c:showSerName val="0"/>
              <c:showPercent val="0"/>
              <c:showBubbleSize val="0"/>
            </c:dLbl>
            <c:dLbl>
              <c:idx val="1"/>
              <c:tx>
                <c:rich>
                  <a:bodyPr/>
                  <a:lstStyle/>
                  <a:p>
                    <a:r>
                      <a:rPr>
                        <a:solidFill>
                          <a:srgbClr val="FFFFFF"/>
                        </a:solidFill>
                      </a:rPr>
                      <a:t>37.3</a:t>
                    </a:r>
                  </a:p>
                </c:rich>
              </c:tx>
              <c:showLegendKey val="0"/>
              <c:showVal val="1"/>
              <c:showCatName val="0"/>
              <c:showSerName val="0"/>
              <c:showPercent val="0"/>
              <c:showBubbleSize val="0"/>
            </c:dLbl>
            <c:dLbl>
              <c:idx val="2"/>
              <c:tx>
                <c:rich>
                  <a:bodyPr/>
                  <a:lstStyle/>
                  <a:p>
                    <a:r>
                      <a:rPr>
                        <a:solidFill>
                          <a:srgbClr val="FFFFFF"/>
                        </a:solidFill>
                      </a:rPr>
                      <a:t>2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21893</c:v>
                </c:pt>
                <c:pt idx="1">
                  <c:v>37.343587</c:v>
                </c:pt>
                <c:pt idx="2">
                  <c:v>22.34572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dgewell</c:v>
                </c:pt>
              </c:strCache>
            </c:strRef>
          </c:tx>
          <c:spPr>
            <a:solidFill>
              <a:srgbClr val="00A097"/>
            </a:solidFill>
            <a:ln>
              <a:solidFill>
                <a:schemeClr val="bg1"/>
              </a:solidFill>
            </a:ln>
            <a:effectLst/>
          </c:spPr>
          <c:invertIfNegative val="0"/>
          <c:dLbls>
            <c:dLbl>
              <c:idx val="0"/>
              <c:tx>
                <c:rich>
                  <a:bodyPr/>
                  <a:lstStyle/>
                  <a:p>
                    <a:r>
                      <a:rPr>
                        <a:solidFill>
                          <a:srgbClr val="FFFFFF"/>
                        </a:solidFill>
                      </a:rPr>
                      <a:t>38.2</a:t>
                    </a:r>
                  </a:p>
                </c:rich>
              </c:tx>
              <c:showLegendKey val="0"/>
              <c:showVal val="1"/>
              <c:showCatName val="0"/>
              <c:showSerName val="0"/>
              <c:showPercent val="0"/>
              <c:showBubbleSize val="0"/>
            </c:dLbl>
            <c:dLbl>
              <c:idx val="1"/>
              <c:tx>
                <c:rich>
                  <a:bodyPr/>
                  <a:lstStyle/>
                  <a:p>
                    <a:r>
                      <a:rPr>
                        <a:solidFill>
                          <a:srgbClr val="FFFFFF"/>
                        </a:solidFill>
                      </a:rPr>
                      <a:t>32.4</a:t>
                    </a:r>
                  </a:p>
                </c:rich>
              </c:tx>
              <c:showLegendKey val="0"/>
              <c:showVal val="1"/>
              <c:showCatName val="0"/>
              <c:showSerName val="0"/>
              <c:showPercent val="0"/>
              <c:showBubbleSize val="0"/>
            </c:dLbl>
            <c:dLbl>
              <c:idx val="2"/>
              <c:tx>
                <c:rich>
                  <a:bodyPr/>
                  <a:lstStyle/>
                  <a:p>
                    <a:r>
                      <a:rPr>
                        <a:solidFill>
                          <a:srgbClr val="FFFFFF"/>
                        </a:solidFill>
                      </a:rPr>
                      <a:t>2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8.154493</c:v>
                </c:pt>
                <c:pt idx="1">
                  <c:v>32.352205</c:v>
                </c:pt>
                <c:pt idx="2">
                  <c:v>21.90556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a:solidFill>
                          <a:srgbClr val="FFFFFF"/>
                        </a:solidFill>
                      </a:rPr>
                      <a:t>33.1</a:t>
                    </a:r>
                  </a:p>
                </c:rich>
              </c:tx>
              <c:showLegendKey val="0"/>
              <c:showVal val="1"/>
              <c:showCatName val="0"/>
              <c:showSerName val="0"/>
              <c:showPercent val="0"/>
              <c:showBubbleSize val="0"/>
            </c:dLbl>
            <c:dLbl>
              <c:idx val="1"/>
              <c:tx>
                <c:rich>
                  <a:bodyPr/>
                  <a:lstStyle/>
                  <a:p>
                    <a:r>
                      <a:rPr>
                        <a:solidFill>
                          <a:srgbClr val="FFFFFF"/>
                        </a:solidFill>
                      </a:rPr>
                      <a:t>33.2</a:t>
                    </a:r>
                  </a:p>
                </c:rich>
              </c:tx>
              <c:showLegendKey val="0"/>
              <c:showVal val="1"/>
              <c:showCatName val="0"/>
              <c:showSerName val="0"/>
              <c:showPercent val="0"/>
              <c:showBubbleSize val="0"/>
            </c:dLbl>
            <c:dLbl>
              <c:idx val="2"/>
              <c:tx>
                <c:rich>
                  <a:bodyPr/>
                  <a:lstStyle/>
                  <a:p>
                    <a:r>
                      <a:rPr>
                        <a:solidFill>
                          <a:srgbClr val="FFFFFF"/>
                        </a:solidFill>
                      </a:rPr>
                      <a:t>2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3.088134</c:v>
                </c:pt>
                <c:pt idx="1">
                  <c:v>33.22332</c:v>
                </c:pt>
                <c:pt idx="2">
                  <c:v>24.7473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7604</c:v>
                </c:pt>
                <c:pt idx="1">
                  <c:v>2.696979</c:v>
                </c:pt>
                <c:pt idx="2">
                  <c:v>3.5588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521605</c:v>
                </c:pt>
                <c:pt idx="1">
                  <c:v>0.14451</c:v>
                </c:pt>
                <c:pt idx="2">
                  <c:v>0.0068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6.6</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557489</c:v>
                </c:pt>
                <c:pt idx="1">
                  <c:v>15.597547</c:v>
                </c:pt>
                <c:pt idx="2">
                  <c:v>13.18951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5</a:t>
                    </a:r>
                  </a:p>
                </c:rich>
              </c:tx>
              <c:showLegendKey val="0"/>
              <c:showVal val="1"/>
              <c:showCatName val="0"/>
              <c:showSerName val="0"/>
              <c:showPercent val="0"/>
              <c:showBubbleSize val="0"/>
            </c:dLbl>
            <c:dLbl>
              <c:idx val="1"/>
              <c:tx>
                <c:rich>
                  <a:bodyPr/>
                  <a:lstStyle/>
                  <a:p>
                    <a:r>
                      <a:rPr>
                        <a:solidFill>
                          <a:srgbClr val="FFFFFF"/>
                        </a:solidFill>
                      </a:rPr>
                      <a:t>7.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453033</c:v>
                </c:pt>
                <c:pt idx="1">
                  <c:v>7.944252</c:v>
                </c:pt>
                <c:pt idx="2">
                  <c:v>4.2030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0965</c:v>
                </c:pt>
                <c:pt idx="1">
                  <c:v>0.00708</c:v>
                </c:pt>
                <c:pt idx="2">
                  <c:v>0.0045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29418</c:v>
                </c:pt>
                <c:pt idx="1">
                  <c:v>1.556551</c:v>
                </c:pt>
                <c:pt idx="2">
                  <c:v>1.29320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5497</c:v>
                </c:pt>
                <c:pt idx="1">
                  <c:v>0.770764</c:v>
                </c:pt>
                <c:pt idx="2">
                  <c:v>0.71256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50473</c:v>
                </c:pt>
                <c:pt idx="1">
                  <c:v>1.526154</c:v>
                </c:pt>
                <c:pt idx="2">
                  <c:v>1.19338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58679</c:v>
                </c:pt>
                <c:pt idx="1">
                  <c:v>0.542039</c:v>
                </c:pt>
                <c:pt idx="2">
                  <c:v>0.8588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05237</c:v>
                </c:pt>
                <c:pt idx="1">
                  <c:v>0.094417</c:v>
                </c:pt>
                <c:pt idx="2">
                  <c:v>0.08381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821</c:v>
                </c:pt>
                <c:pt idx="1">
                  <c:v>0.003625</c:v>
                </c:pt>
                <c:pt idx="2">
                  <c:v>0.00353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6.6</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87499</c:v>
                </c:pt>
                <c:pt idx="1">
                  <c:v>6.588392</c:v>
                </c:pt>
                <c:pt idx="2">
                  <c:v>5.0604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3409</c:v>
                </c:pt>
                <c:pt idx="1">
                  <c:v>2.076243</c:v>
                </c:pt>
                <c:pt idx="2">
                  <c:v>1.66868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76444</c:v>
                </c:pt>
                <c:pt idx="1">
                  <c:v>2.187791</c:v>
                </c:pt>
                <c:pt idx="2">
                  <c:v>1.7129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49635</c:v>
                </c:pt>
                <c:pt idx="1">
                  <c:v>1.578926</c:v>
                </c:pt>
                <c:pt idx="2">
                  <c:v>2.21026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80376</c:v>
                </c:pt>
                <c:pt idx="1">
                  <c:v>0.193412</c:v>
                </c:pt>
                <c:pt idx="2">
                  <c:v>0.13721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0841</c:v>
                </c:pt>
                <c:pt idx="1">
                  <c:v>0.02002</c:v>
                </c:pt>
                <c:pt idx="2">
                  <c:v>0.01759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987808</c:v>
                </c:pt>
                <c:pt idx="1">
                  <c:v>2.548643</c:v>
                </c:pt>
                <c:pt idx="2">
                  <c:v>1.6636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mazon</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1818</c:v>
                </c:pt>
                <c:pt idx="1">
                  <c:v>0.242384</c:v>
                </c:pt>
                <c:pt idx="2">
                  <c:v>0.12897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8087</c:v>
                </c:pt>
                <c:pt idx="1">
                  <c:v>0.017321</c:v>
                </c:pt>
                <c:pt idx="2">
                  <c:v>0.07442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01766</c:v>
                </c:pt>
                <c:pt idx="1">
                  <c:v>0.207751</c:v>
                </c:pt>
                <c:pt idx="2">
                  <c:v>0.18380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5342</c:v>
                </c:pt>
                <c:pt idx="1">
                  <c:v>0.053915</c:v>
                </c:pt>
                <c:pt idx="2">
                  <c:v>0.0208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618629</c:v>
                </c:pt>
                <c:pt idx="1">
                  <c:v>0.739102</c:v>
                </c:pt>
                <c:pt idx="2">
                  <c:v>0.570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5.8</a:t>
                    </a:r>
                  </a:p>
                </c:rich>
              </c:tx>
              <c:showLegendKey val="0"/>
              <c:showVal val="1"/>
              <c:showCatName val="0"/>
              <c:showSerName val="0"/>
              <c:showPercent val="0"/>
              <c:showBubbleSize val="0"/>
            </c:dLbl>
            <c:dLbl>
              <c:idx val="1"/>
              <c:tx>
                <c:rich>
                  <a:bodyPr/>
                  <a:lstStyle/>
                  <a:p>
                    <a:r>
                      <a:rPr>
                        <a:solidFill>
                          <a:srgbClr val="FFFFFF"/>
                        </a:solidFill>
                      </a:rPr>
                      <a:t>6.5</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777016</c:v>
                </c:pt>
                <c:pt idx="1">
                  <c:v>6.516395</c:v>
                </c:pt>
                <c:pt idx="2">
                  <c:v>4.1120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mazon</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8356</c:v>
                </c:pt>
                <c:pt idx="1">
                  <c:v>0.369206</c:v>
                </c:pt>
                <c:pt idx="2">
                  <c:v>0.1906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99971</c:v>
                </c:pt>
                <c:pt idx="1">
                  <c:v>0.044658</c:v>
                </c:pt>
                <c:pt idx="2">
                  <c:v>0.16591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rocter &amp; Gamble</c:v>
                </c:pt>
              </c:strCache>
            </c:strRef>
          </c:tx>
          <c:spPr>
            <a:solidFill>
              <a:srgbClr val="9B9898"/>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61858</c:v>
                </c:pt>
                <c:pt idx="1">
                  <c:v>0.157079</c:v>
                </c:pt>
                <c:pt idx="2">
                  <c:v>0.08476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8874</c:v>
                </c:pt>
                <c:pt idx="1">
                  <c:v>0.15049</c:v>
                </c:pt>
                <c:pt idx="2">
                  <c:v>0.05587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701673</c:v>
                </c:pt>
                <c:pt idx="1">
                  <c:v>1.736033</c:v>
                </c:pt>
                <c:pt idx="2">
                  <c:v>1.61653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8.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8.5</a:t>
                    </a:r>
                  </a:p>
                </c:rich>
              </c:tx>
              <c:showLegendKey val="0"/>
              <c:showVal val="1"/>
              <c:showCatName val="0"/>
              <c:showSerName val="0"/>
              <c:showPercent val="0"/>
              <c:showBubbleSize val="0"/>
            </c:dLbl>
            <c:dLbl>
              <c:idx val="2"/>
              <c:tx>
                <c:rich>
                  <a:bodyPr/>
                  <a:lstStyle/>
                  <a:p>
                    <a:r>
                      <a:rPr>
                        <a:solidFill>
                          <a:srgbClr val="FFFFFF"/>
                        </a:solidFill>
                      </a:rPr>
                      <a:t>1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8.788007</c:v>
                </c:pt>
                <c:pt idx="1">
                  <c:v>158.511572</c:v>
                </c:pt>
                <c:pt idx="2">
                  <c:v>117.3974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6</a:t>
                    </a:r>
                  </a:p>
                </c:rich>
              </c:tx>
              <c:showLegendKey val="0"/>
              <c:showVal val="1"/>
              <c:showCatName val="0"/>
              <c:showSerName val="0"/>
              <c:showPercent val="0"/>
              <c:showBubbleSize val="0"/>
            </c:dLbl>
            <c:dLbl>
              <c:idx val="2"/>
              <c:tx>
                <c:rich>
                  <a:bodyPr/>
                  <a:lstStyle/>
                  <a:p>
                    <a:r>
                      <a:rPr>
                        <a:solidFill>
                          <a:srgbClr val="FFFFFF"/>
                        </a:solidFill>
                      </a:rPr>
                      <a:t>4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4.63444</c:v>
                </c:pt>
                <c:pt idx="1">
                  <c:v>75.619718</c:v>
                </c:pt>
                <c:pt idx="2">
                  <c:v>47.24075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7</a:t>
                    </a:r>
                  </a:p>
                </c:rich>
              </c:tx>
              <c:showLegendKey val="0"/>
              <c:showVal val="1"/>
              <c:showCatName val="0"/>
              <c:showSerName val="0"/>
              <c:showPercent val="0"/>
              <c:showBubbleSize val="0"/>
            </c:dLbl>
            <c:dLbl>
              <c:idx val="2"/>
              <c:tx>
                <c:rich>
                  <a:bodyPr/>
                  <a:lstStyle/>
                  <a:p>
                    <a:r>
                      <a:rPr>
                        <a:solidFill>
                          <a:srgbClr val="FFFFFF"/>
                        </a:solidFill>
                      </a:rPr>
                      <a:t>1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5.398008</c:v>
                </c:pt>
                <c:pt idx="1">
                  <c:v>23.746954</c:v>
                </c:pt>
                <c:pt idx="2">
                  <c:v>14.65978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5</a:t>
                    </a:r>
                  </a:p>
                </c:rich>
              </c:tx>
              <c:showLegendKey val="0"/>
              <c:showVal val="1"/>
              <c:showCatName val="0"/>
              <c:showSerName val="0"/>
              <c:showPercent val="0"/>
              <c:showBubbleSize val="0"/>
            </c:dLbl>
            <c:dLbl>
              <c:idx val="2"/>
              <c:tx>
                <c:rich>
                  <a:bodyPr/>
                  <a:lstStyle/>
                  <a:p>
                    <a:r>
                      <a:rPr>
                        <a:solidFill>
                          <a:srgbClr val="FFFFFF"/>
                        </a:solidFill>
                      </a:rPr>
                      <a:t>1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6.472403</c:v>
                </c:pt>
                <c:pt idx="1">
                  <c:v>27.530154</c:v>
                </c:pt>
                <c:pt idx="2">
                  <c:v>16.0916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4</a:t>
                    </a:r>
                  </a:p>
                </c:rich>
              </c:tx>
              <c:showLegendKey val="0"/>
              <c:showVal val="1"/>
              <c:showCatName val="0"/>
              <c:showSerName val="0"/>
              <c:showPercent val="0"/>
              <c:showBubbleSize val="0"/>
            </c:dLbl>
            <c:dLbl>
              <c:idx val="2"/>
              <c:tx>
                <c:rich>
                  <a:bodyPr/>
                  <a:lstStyle/>
                  <a:p>
                    <a:r>
                      <a:rPr>
                        <a:solidFill>
                          <a:srgbClr val="FFFFFF"/>
                        </a:solidFill>
                      </a:rPr>
                      <a:t>5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1.489513</c:v>
                </c:pt>
                <c:pt idx="1">
                  <c:v>75.40045</c:v>
                </c:pt>
                <c:pt idx="2">
                  <c:v>50.97599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9</a:t>
                    </a:r>
                  </a:p>
                </c:rich>
              </c:tx>
              <c:showLegendKey val="0"/>
              <c:showVal val="1"/>
              <c:showCatName val="0"/>
              <c:showSerName val="0"/>
              <c:showPercent val="0"/>
              <c:showBubbleSize val="0"/>
            </c:dLbl>
            <c:dLbl>
              <c:idx val="2"/>
              <c:tx>
                <c:rich>
                  <a:bodyPr/>
                  <a:lstStyle/>
                  <a:p>
                    <a:r>
                      <a:rPr>
                        <a:solidFill>
                          <a:srgbClr val="FFFFFF"/>
                        </a:solidFill>
                      </a:rPr>
                      <a:t>1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7.824914</c:v>
                </c:pt>
                <c:pt idx="1">
                  <c:v>20.886525</c:v>
                </c:pt>
                <c:pt idx="2">
                  <c:v>16.25151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4</a:t>
                    </a:r>
                  </a:p>
                </c:rich>
              </c:tx>
              <c:showLegendKey val="0"/>
              <c:showVal val="1"/>
              <c:showCatName val="0"/>
              <c:showSerName val="0"/>
              <c:showPercent val="0"/>
              <c:showBubbleSize val="0"/>
            </c:dLbl>
            <c:dLbl>
              <c:idx val="2"/>
              <c:tx>
                <c:rich>
                  <a:bodyPr/>
                  <a:lstStyle/>
                  <a:p>
                    <a:r>
                      <a:rPr>
                        <a:solidFill>
                          <a:srgbClr val="FFFFFF"/>
                        </a:solidFill>
                      </a:rPr>
                      <a:t>1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7.409682</c:v>
                </c:pt>
                <c:pt idx="1">
                  <c:v>17.371636</c:v>
                </c:pt>
                <c:pt idx="2">
                  <c:v>17.20596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4.715697</c:v>
                </c:pt>
                <c:pt idx="1">
                  <c:v>11.250368</c:v>
                </c:pt>
                <c:pt idx="2">
                  <c:v>6.89726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1.321075</c:v>
                </c:pt>
                <c:pt idx="1">
                  <c:v>15.639501</c:v>
                </c:pt>
                <c:pt idx="2">
                  <c:v>8.47804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9.3</a:t>
                    </a:r>
                  </a:p>
                </c:rich>
              </c:tx>
              <c:showLegendKey val="0"/>
              <c:showVal val="1"/>
              <c:showCatName val="0"/>
              <c:showSerName val="0"/>
              <c:showPercent val="0"/>
              <c:showBubbleSize val="0"/>
            </c:dLbl>
            <c:dLbl>
              <c:idx val="2"/>
              <c:tx>
                <c:rich>
                  <a:bodyPr/>
                  <a:lstStyle/>
                  <a:p>
                    <a:r>
                      <a:rPr>
                        <a:solidFill>
                          <a:srgbClr val="FFFFFF"/>
                        </a:solidFill>
                      </a:rPr>
                      <a:t>11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75.533683</c:v>
                </c:pt>
                <c:pt idx="1">
                  <c:v>169.254874</c:v>
                </c:pt>
                <c:pt idx="2">
                  <c:v>118.73612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501.2</a:t>
                    </a:r>
                  </a:p>
                </c:rich>
              </c:tx>
              <c:showLegendKey val="0"/>
              <c:showVal val="1"/>
              <c:showCatName val="0"/>
              <c:showSerName val="0"/>
              <c:showPercent val="0"/>
              <c:showBubbleSize val="0"/>
            </c:dLbl>
            <c:dLbl>
              <c:idx val="1"/>
              <c:tx>
                <c:rich>
                  <a:bodyPr/>
                  <a:lstStyle/>
                  <a:p>
                    <a:r>
                      <a:rPr>
                        <a:solidFill>
                          <a:srgbClr val="FFFFFF"/>
                        </a:solidFill>
                      </a:rPr>
                      <a:t>509.1</a:t>
                    </a:r>
                  </a:p>
                </c:rich>
              </c:tx>
              <c:showLegendKey val="0"/>
              <c:showVal val="1"/>
              <c:showCatName val="0"/>
              <c:showSerName val="0"/>
              <c:showPercent val="0"/>
              <c:showBubbleSize val="0"/>
            </c:dLbl>
            <c:dLbl>
              <c:idx val="2"/>
              <c:tx>
                <c:rich>
                  <a:bodyPr/>
                  <a:lstStyle/>
                  <a:p>
                    <a:r>
                      <a:rPr>
                        <a:solidFill>
                          <a:srgbClr val="FFFFFF"/>
                        </a:solidFill>
                      </a:rPr>
                      <a:t>37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01.153591</c:v>
                </c:pt>
                <c:pt idx="1">
                  <c:v>509.091012</c:v>
                </c:pt>
                <c:pt idx="2">
                  <c:v>373.1251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123.0</a:t>
                    </a:r>
                  </a:p>
                </c:rich>
              </c:tx>
              <c:showLegendKey val="0"/>
              <c:showVal val="1"/>
              <c:showCatName val="0"/>
              <c:showSerName val="0"/>
              <c:showPercent val="0"/>
              <c:showBubbleSize val="0"/>
            </c:dLbl>
            <c:dLbl>
              <c:idx val="1"/>
              <c:tx>
                <c:rich>
                  <a:bodyPr/>
                  <a:lstStyle/>
                  <a:p>
                    <a:r>
                      <a:rPr>
                        <a:solidFill>
                          <a:srgbClr val="FFFFFF"/>
                        </a:solidFill>
                      </a:rPr>
                      <a:t>118.8</a:t>
                    </a:r>
                  </a:p>
                </c:rich>
              </c:tx>
              <c:showLegendKey val="0"/>
              <c:showVal val="1"/>
              <c:showCatName val="0"/>
              <c:showSerName val="0"/>
              <c:showPercent val="0"/>
              <c:showBubbleSize val="0"/>
            </c:dLbl>
            <c:dLbl>
              <c:idx val="2"/>
              <c:tx>
                <c:rich>
                  <a:bodyPr/>
                  <a:lstStyle/>
                  <a:p>
                    <a:r>
                      <a:rPr>
                        <a:solidFill>
                          <a:srgbClr val="FFFFFF"/>
                        </a:solidFill>
                      </a:rPr>
                      <a:t>7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2.959638</c:v>
                </c:pt>
                <c:pt idx="1">
                  <c:v>118.802213</c:v>
                </c:pt>
                <c:pt idx="2">
                  <c:v>74.60742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99.7</a:t>
                    </a:r>
                  </a:p>
                </c:rich>
              </c:tx>
              <c:showLegendKey val="0"/>
              <c:showVal val="1"/>
              <c:showCatName val="0"/>
              <c:showSerName val="0"/>
              <c:showPercent val="0"/>
              <c:showBubbleSize val="0"/>
            </c:dLbl>
            <c:dLbl>
              <c:idx val="1"/>
              <c:tx>
                <c:rich>
                  <a:bodyPr/>
                  <a:lstStyle/>
                  <a:p>
                    <a:r>
                      <a:rPr>
                        <a:solidFill>
                          <a:srgbClr val="FFFFFF"/>
                        </a:solidFill>
                      </a:rPr>
                      <a:t>96.1</a:t>
                    </a:r>
                  </a:p>
                </c:rich>
              </c:tx>
              <c:showLegendKey val="0"/>
              <c:showVal val="1"/>
              <c:showCatName val="0"/>
              <c:showSerName val="0"/>
              <c:showPercent val="0"/>
              <c:showBubbleSize val="0"/>
            </c:dLbl>
            <c:dLbl>
              <c:idx val="2"/>
              <c:tx>
                <c:rich>
                  <a:bodyPr/>
                  <a:lstStyle/>
                  <a:p>
                    <a:r>
                      <a:rPr>
                        <a:solidFill>
                          <a:srgbClr val="FFFFFF"/>
                        </a:solidFill>
                      </a:rPr>
                      <a:t>5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99.656852</c:v>
                </c:pt>
                <c:pt idx="1">
                  <c:v>96.126263</c:v>
                </c:pt>
                <c:pt idx="2">
                  <c:v>58.5709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91.3</a:t>
                    </a:r>
                  </a:p>
                </c:rich>
              </c:tx>
              <c:showLegendKey val="0"/>
              <c:showVal val="1"/>
              <c:showCatName val="0"/>
              <c:showSerName val="0"/>
              <c:showPercent val="0"/>
              <c:showBubbleSize val="0"/>
            </c:dLbl>
            <c:dLbl>
              <c:idx val="1"/>
              <c:tx>
                <c:rich>
                  <a:bodyPr/>
                  <a:lstStyle/>
                  <a:p>
                    <a:r>
                      <a:rPr>
                        <a:solidFill>
                          <a:srgbClr val="FFFFFF"/>
                        </a:solidFill>
                      </a:rPr>
                      <a:t>95.1</a:t>
                    </a:r>
                  </a:p>
                </c:rich>
              </c:tx>
              <c:showLegendKey val="0"/>
              <c:showVal val="1"/>
              <c:showCatName val="0"/>
              <c:showSerName val="0"/>
              <c:showPercent val="0"/>
              <c:showBubbleSize val="0"/>
            </c:dLbl>
            <c:dLbl>
              <c:idx val="2"/>
              <c:tx>
                <c:rich>
                  <a:bodyPr/>
                  <a:lstStyle/>
                  <a:p>
                    <a:r>
                      <a:rPr>
                        <a:solidFill>
                          <a:srgbClr val="FFFFFF"/>
                        </a:solidFill>
                      </a:rPr>
                      <a:t>5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91.282251</c:v>
                </c:pt>
                <c:pt idx="1">
                  <c:v>95.068532</c:v>
                </c:pt>
                <c:pt idx="2">
                  <c:v>54.71915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76.0</a:t>
                    </a:r>
                  </a:p>
                </c:rich>
              </c:tx>
              <c:showLegendKey val="0"/>
              <c:showVal val="1"/>
              <c:showCatName val="0"/>
              <c:showSerName val="0"/>
              <c:showPercent val="0"/>
              <c:showBubbleSize val="0"/>
            </c:dLbl>
            <c:dLbl>
              <c:idx val="1"/>
              <c:tx>
                <c:rich>
                  <a:bodyPr/>
                  <a:lstStyle/>
                  <a:p>
                    <a:r>
                      <a:rPr>
                        <a:solidFill>
                          <a:srgbClr val="FFFFFF"/>
                        </a:solidFill>
                      </a:rPr>
                      <a:t>78.7</a:t>
                    </a:r>
                  </a:p>
                </c:rich>
              </c:tx>
              <c:showLegendKey val="0"/>
              <c:showVal val="1"/>
              <c:showCatName val="0"/>
              <c:showSerName val="0"/>
              <c:showPercent val="0"/>
              <c:showBubbleSize val="0"/>
            </c:dLbl>
            <c:dLbl>
              <c:idx val="2"/>
              <c:tx>
                <c:rich>
                  <a:bodyPr/>
                  <a:lstStyle/>
                  <a:p>
                    <a:r>
                      <a:rPr>
                        <a:solidFill>
                          <a:srgbClr val="FFFFFF"/>
                        </a:solidFill>
                      </a:rPr>
                      <a:t>5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6.048119</c:v>
                </c:pt>
                <c:pt idx="1">
                  <c:v>78.681484</c:v>
                </c:pt>
                <c:pt idx="2">
                  <c:v>56.37181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56.4</a:t>
                    </a:r>
                  </a:p>
                </c:rich>
              </c:tx>
              <c:showLegendKey val="0"/>
              <c:showVal val="1"/>
              <c:showCatName val="0"/>
              <c:showSerName val="0"/>
              <c:showPercent val="0"/>
              <c:showBubbleSize val="0"/>
            </c:dLbl>
            <c:dLbl>
              <c:idx val="1"/>
              <c:tx>
                <c:rich>
                  <a:bodyPr/>
                  <a:lstStyle/>
                  <a:p>
                    <a:r>
                      <a:rPr>
                        <a:solidFill>
                          <a:srgbClr val="FFFFFF"/>
                        </a:solidFill>
                      </a:rPr>
                      <a:t>64.2</a:t>
                    </a:r>
                  </a:p>
                </c:rich>
              </c:tx>
              <c:showLegendKey val="0"/>
              <c:showVal val="1"/>
              <c:showCatName val="0"/>
              <c:showSerName val="0"/>
              <c:showPercent val="0"/>
              <c:showBubbleSize val="0"/>
            </c:dLbl>
            <c:dLbl>
              <c:idx val="2"/>
              <c:tx>
                <c:rich>
                  <a:bodyPr/>
                  <a:lstStyle/>
                  <a:p>
                    <a:r>
                      <a:rPr>
                        <a:solidFill>
                          <a:srgbClr val="FFFFFF"/>
                        </a:solidFill>
                      </a:rPr>
                      <a:t>4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6.373794</c:v>
                </c:pt>
                <c:pt idx="1">
                  <c:v>64.174816</c:v>
                </c:pt>
                <c:pt idx="2">
                  <c:v>47.87580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27.8</a:t>
                    </a:r>
                  </a:p>
                </c:rich>
              </c:tx>
              <c:showLegendKey val="0"/>
              <c:showVal val="1"/>
              <c:showCatName val="0"/>
              <c:showSerName val="0"/>
              <c:showPercent val="0"/>
              <c:showBubbleSize val="0"/>
            </c:dLbl>
            <c:dLbl>
              <c:idx val="1"/>
              <c:tx>
                <c:rich>
                  <a:bodyPr/>
                  <a:lstStyle/>
                  <a:p>
                    <a:r>
                      <a:rPr>
                        <a:solidFill>
                          <a:srgbClr val="FFFFFF"/>
                        </a:solidFill>
                      </a:rPr>
                      <a:t>53.6</a:t>
                    </a:r>
                  </a:p>
                </c:rich>
              </c:tx>
              <c:showLegendKey val="0"/>
              <c:showVal val="1"/>
              <c:showCatName val="0"/>
              <c:showSerName val="0"/>
              <c:showPercent val="0"/>
              <c:showBubbleSize val="0"/>
            </c:dLbl>
            <c:dLbl>
              <c:idx val="2"/>
              <c:tx>
                <c:rich>
                  <a:bodyPr/>
                  <a:lstStyle/>
                  <a:p>
                    <a:r>
                      <a:rPr>
                        <a:solidFill>
                          <a:srgbClr val="FFFFFF"/>
                        </a:solidFill>
                      </a:rPr>
                      <a:t>4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7.824811</c:v>
                </c:pt>
                <c:pt idx="1">
                  <c:v>53.573916</c:v>
                </c:pt>
                <c:pt idx="2">
                  <c:v>48.13794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38.1</a:t>
                    </a:r>
                  </a:p>
                </c:rich>
              </c:tx>
              <c:showLegendKey val="0"/>
              <c:showVal val="1"/>
              <c:showCatName val="0"/>
              <c:showSerName val="0"/>
              <c:showPercent val="0"/>
              <c:showBubbleSize val="0"/>
            </c:dLbl>
            <c:dLbl>
              <c:idx val="1"/>
              <c:tx>
                <c:rich>
                  <a:bodyPr/>
                  <a:lstStyle/>
                  <a:p>
                    <a:r>
                      <a:rPr>
                        <a:solidFill>
                          <a:srgbClr val="FFFFFF"/>
                        </a:solidFill>
                      </a:rPr>
                      <a:t>30.3</a:t>
                    </a:r>
                  </a:p>
                </c:rich>
              </c:tx>
              <c:showLegendKey val="0"/>
              <c:showVal val="1"/>
              <c:showCatName val="0"/>
              <c:showSerName val="0"/>
              <c:showPercent val="0"/>
              <c:showBubbleSize val="0"/>
            </c:dLbl>
            <c:dLbl>
              <c:idx val="2"/>
              <c:tx>
                <c:rich>
                  <a:bodyPr/>
                  <a:lstStyle/>
                  <a:p>
                    <a:r>
                      <a:rPr>
                        <a:solidFill>
                          <a:srgbClr val="FFFFFF"/>
                        </a:solidFill>
                      </a:rPr>
                      <a:t>1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8.085291</c:v>
                </c:pt>
                <c:pt idx="1">
                  <c:v>30.323789</c:v>
                </c:pt>
                <c:pt idx="2">
                  <c:v>18.18609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31.5</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1.502714</c:v>
                </c:pt>
                <c:pt idx="1">
                  <c:v>25.135859</c:v>
                </c:pt>
                <c:pt idx="2">
                  <c:v>13.40772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28.5</a:t>
                    </a:r>
                  </a:p>
                </c:rich>
              </c:tx>
              <c:showLegendKey val="0"/>
              <c:showVal val="1"/>
              <c:showCatName val="0"/>
              <c:showSerName val="0"/>
              <c:showPercent val="0"/>
              <c:showBubbleSize val="0"/>
            </c:dLbl>
            <c:dLbl>
              <c:idx val="1"/>
              <c:tx>
                <c:rich>
                  <a:bodyPr/>
                  <a:lstStyle/>
                  <a:p>
                    <a:r>
                      <a:rPr>
                        <a:solidFill>
                          <a:srgbClr val="FFFFFF"/>
                        </a:solidFill>
                      </a:rPr>
                      <a:t>133.1</a:t>
                    </a:r>
                  </a:p>
                </c:rich>
              </c:tx>
              <c:showLegendKey val="0"/>
              <c:showVal val="1"/>
              <c:showCatName val="0"/>
              <c:showSerName val="0"/>
              <c:showPercent val="0"/>
              <c:showBubbleSize val="0"/>
            </c:dLbl>
            <c:dLbl>
              <c:idx val="2"/>
              <c:tx>
                <c:rich>
                  <a:bodyPr/>
                  <a:lstStyle/>
                  <a:p>
                    <a:r>
                      <a:rPr>
                        <a:solidFill>
                          <a:srgbClr val="FFFFFF"/>
                        </a:solidFill>
                      </a:rPr>
                      <a:t>9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28.4612</c:v>
                </c:pt>
                <c:pt idx="1">
                  <c:v>133.055911</c:v>
                </c:pt>
                <c:pt idx="2">
                  <c:v>91.5115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5</a:t>
                    </a:r>
                  </a:p>
                </c:rich>
              </c:tx>
              <c:showLegendKey val="0"/>
              <c:showVal val="1"/>
              <c:showCatName val="0"/>
              <c:showSerName val="0"/>
              <c:showPercent val="0"/>
              <c:showBubbleSize val="0"/>
            </c:dLbl>
            <c:dLbl>
              <c:idx val="2"/>
              <c:tx>
                <c:rich>
                  <a:bodyPr/>
                  <a:lstStyle/>
                  <a:p>
                    <a:r>
                      <a:rPr>
                        <a:solidFill>
                          <a:srgbClr val="FFFFFF"/>
                        </a:solidFill>
                      </a:rPr>
                      <a:t>1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44431</c:v>
                </c:pt>
                <c:pt idx="1">
                  <c:v>13.483339</c:v>
                </c:pt>
                <c:pt idx="2">
                  <c:v>10.8261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694134</c:v>
                </c:pt>
                <c:pt idx="1">
                  <c:v>1.951677</c:v>
                </c:pt>
                <c:pt idx="2">
                  <c:v>1.6022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7774</c:v>
                </c:pt>
                <c:pt idx="1">
                  <c:v>1.496501</c:v>
                </c:pt>
                <c:pt idx="2">
                  <c:v>1.16311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193867</c:v>
                </c:pt>
                <c:pt idx="1">
                  <c:v>3.979374</c:v>
                </c:pt>
                <c:pt idx="2">
                  <c:v>2.9128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031367</c:v>
                </c:pt>
                <c:pt idx="1">
                  <c:v>4.207408</c:v>
                </c:pt>
                <c:pt idx="2">
                  <c:v>2.7159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2.003174</c:v>
                </c:pt>
                <c:pt idx="2">
                  <c:v>3.42534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006363</c:v>
                </c:pt>
                <c:pt idx="1">
                  <c:v>0.818971</c:v>
                </c:pt>
                <c:pt idx="2">
                  <c:v>0.52373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716144</c:v>
                </c:pt>
                <c:pt idx="1">
                  <c:v>0.7107</c:v>
                </c:pt>
                <c:pt idx="2">
                  <c:v>0.52035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60884</c:v>
                </c:pt>
                <c:pt idx="1">
                  <c:v>0.066905</c:v>
                </c:pt>
                <c:pt idx="2">
                  <c:v>0.01807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6.797586</c:v>
                </c:pt>
                <c:pt idx="1">
                  <c:v>7.556371</c:v>
                </c:pt>
                <c:pt idx="2">
                  <c:v>5.8505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41.9</a:t>
                    </a:r>
                  </a:p>
                </c:rich>
              </c:tx>
              <c:showLegendKey val="0"/>
              <c:showVal val="1"/>
              <c:showCatName val="0"/>
              <c:showSerName val="0"/>
              <c:showPercent val="0"/>
              <c:showBubbleSize val="0"/>
            </c:dLbl>
            <c:dLbl>
              <c:idx val="1"/>
              <c:tx>
                <c:rich>
                  <a:bodyPr/>
                  <a:lstStyle/>
                  <a:p>
                    <a:r>
                      <a:rPr>
                        <a:solidFill>
                          <a:srgbClr val="FFFFFF"/>
                        </a:solidFill>
                      </a:rPr>
                      <a:t>46.8</a:t>
                    </a:r>
                  </a:p>
                </c:rich>
              </c:tx>
              <c:showLegendKey val="0"/>
              <c:showVal val="1"/>
              <c:showCatName val="0"/>
              <c:showSerName val="0"/>
              <c:showPercent val="0"/>
              <c:showBubbleSize val="0"/>
            </c:dLbl>
            <c:dLbl>
              <c:idx val="2"/>
              <c:tx>
                <c:rich>
                  <a:bodyPr/>
                  <a:lstStyle/>
                  <a:p>
                    <a:r>
                      <a:rPr>
                        <a:solidFill>
                          <a:srgbClr val="FFFFFF"/>
                        </a:solidFill>
                      </a:rPr>
                      <a:t>3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1.918526</c:v>
                </c:pt>
                <c:pt idx="1">
                  <c:v>46.750841</c:v>
                </c:pt>
                <c:pt idx="2">
                  <c:v>36.8144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a:solidFill>
                          <a:srgbClr val="FFFFFF"/>
                        </a:solidFill>
                      </a:rPr>
                      <a:t>5.7</a:t>
                    </a:r>
                  </a:p>
                </c:rich>
              </c:tx>
              <c:showLegendKey val="0"/>
              <c:showVal val="1"/>
              <c:showCatName val="0"/>
              <c:showSerName val="0"/>
              <c:showPercent val="0"/>
              <c:showBubbleSize val="0"/>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692628</c:v>
                </c:pt>
                <c:pt idx="1">
                  <c:v>6.874681</c:v>
                </c:pt>
                <c:pt idx="2">
                  <c:v>5.47265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6.4</a:t>
                    </a:r>
                  </a:p>
                </c:rich>
              </c:tx>
              <c:showLegendKey val="0"/>
              <c:showVal val="1"/>
              <c:showCatName val="0"/>
              <c:showSerName val="0"/>
              <c:showPercent val="0"/>
              <c:showBubbleSize val="0"/>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401617</c:v>
                </c:pt>
                <c:pt idx="1">
                  <c:v>5.340752</c:v>
                </c:pt>
                <c:pt idx="2">
                  <c:v>3.9121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421666</c:v>
                </c:pt>
                <c:pt idx="1">
                  <c:v>5.939095</c:v>
                </c:pt>
                <c:pt idx="2">
                  <c:v>4.24614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4.8</a:t>
                    </a:r>
                  </a:p>
                </c:rich>
              </c:tx>
              <c:showLegendKey val="0"/>
              <c:showVal val="1"/>
              <c:showCatName val="0"/>
              <c:showSerName val="0"/>
              <c:showPercent val="0"/>
              <c:showBubbleSize val="0"/>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814266</c:v>
                </c:pt>
                <c:pt idx="1">
                  <c:v>4.907841</c:v>
                </c:pt>
                <c:pt idx="2">
                  <c:v>3.3455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2.112337</c:v>
                </c:pt>
                <c:pt idx="2">
                  <c:v>4.16739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234208</c:v>
                </c:pt>
                <c:pt idx="1">
                  <c:v>1.99879</c:v>
                </c:pt>
                <c:pt idx="2">
                  <c:v>1.10606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664018</c:v>
                </c:pt>
                <c:pt idx="1">
                  <c:v>1.844084</c:v>
                </c:pt>
                <c:pt idx="2">
                  <c:v>1.2130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8577</c:v>
                </c:pt>
                <c:pt idx="1">
                  <c:v>0.08294</c:v>
                </c:pt>
                <c:pt idx="2">
                  <c:v>0.02675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2.962804</c:v>
                </c:pt>
                <c:pt idx="1">
                  <c:v>4.631881</c:v>
                </c:pt>
                <c:pt idx="2">
                  <c:v>3.813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2</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303244</c:v>
                </c:pt>
                <c:pt idx="1">
                  <c:v>10.171383</c:v>
                </c:pt>
                <c:pt idx="2">
                  <c:v>8.01182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004589</c:v>
                </c:pt>
                <c:pt idx="1">
                  <c:v>1.694149</c:v>
                </c:pt>
                <c:pt idx="2">
                  <c:v>1.0046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52563</c:v>
                </c:pt>
                <c:pt idx="1">
                  <c:v>2.040399</c:v>
                </c:pt>
                <c:pt idx="2">
                  <c:v>1.2791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582342</c:v>
                </c:pt>
                <c:pt idx="1">
                  <c:v>3.048395</c:v>
                </c:pt>
                <c:pt idx="2">
                  <c:v>1.3089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175904</c:v>
                </c:pt>
                <c:pt idx="1">
                  <c:v>1.242076</c:v>
                </c:pt>
                <c:pt idx="2">
                  <c:v>1.15633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6753</c:v>
                </c:pt>
                <c:pt idx="1">
                  <c:v>0.887027</c:v>
                </c:pt>
                <c:pt idx="2">
                  <c:v>1.01850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713642</c:v>
                </c:pt>
                <c:pt idx="1">
                  <c:v>0.582492</c:v>
                </c:pt>
                <c:pt idx="2">
                  <c:v>0.41848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Dais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291823</c:v>
                </c:pt>
                <c:pt idx="1">
                  <c:v>1.247818</c:v>
                </c:pt>
                <c:pt idx="2">
                  <c:v>0.7471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Universal Razor</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567746</c:v>
                </c:pt>
                <c:pt idx="1">
                  <c:v>1.036261</c:v>
                </c:pt>
                <c:pt idx="2">
                  <c:v>0.490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45.4</a:t>
                    </a:r>
                  </a:p>
                </c:rich>
              </c:tx>
              <c:showLegendKey val="0"/>
              <c:showVal val="1"/>
              <c:showCatName val="0"/>
              <c:showSerName val="0"/>
              <c:showPercent val="0"/>
              <c:showBubbleSize val="0"/>
            </c:dLbl>
            <c:dLbl>
              <c:idx val="1"/>
              <c:tx>
                <c:rich>
                  <a:bodyPr/>
                  <a:lstStyle/>
                  <a:p>
                    <a:r>
                      <a:rPr>
                        <a:solidFill>
                          <a:srgbClr val="FFFFFF"/>
                        </a:solidFill>
                      </a:rPr>
                      <a:t>45.2</a:t>
                    </a:r>
                  </a:p>
                </c:rich>
              </c:tx>
              <c:showLegendKey val="0"/>
              <c:showVal val="1"/>
              <c:showCatName val="0"/>
              <c:showSerName val="0"/>
              <c:showPercent val="0"/>
              <c:showBubbleSize val="0"/>
            </c:dLbl>
            <c:dLbl>
              <c:idx val="2"/>
              <c:tx>
                <c:rich>
                  <a:bodyPr/>
                  <a:lstStyle/>
                  <a:p>
                    <a:r>
                      <a:rPr>
                        <a:solidFill>
                          <a:srgbClr val="FFFFFF"/>
                        </a:solidFill>
                      </a:rPr>
                      <a:t>3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5.397823</c:v>
                </c:pt>
                <c:pt idx="1">
                  <c:v>45.166132</c:v>
                </c:pt>
                <c:pt idx="2">
                  <c:v>31.8371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100582</c:v>
                </c:pt>
                <c:pt idx="1">
                  <c:v>9.316704</c:v>
                </c:pt>
                <c:pt idx="2">
                  <c:v>5.4640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8.8</a:t>
                    </a:r>
                  </a:p>
                </c:rich>
              </c:tx>
              <c:showLegendKey val="0"/>
              <c:showVal val="1"/>
              <c:showCatName val="0"/>
              <c:showSerName val="0"/>
              <c:showPercent val="0"/>
              <c:showBubbleSize val="0"/>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8.770981</c:v>
                </c:pt>
                <c:pt idx="1">
                  <c:v>8.623812</c:v>
                </c:pt>
                <c:pt idx="2">
                  <c:v>5.29928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tx>
                <c:rich>
                  <a:bodyPr/>
                  <a:lstStyle/>
                  <a:p>
                    <a:r>
                      <a:rPr>
                        <a:solidFill>
                          <a:srgbClr val="FFFFFF"/>
                        </a:solidFill>
                      </a:rPr>
                      <a:t>7.4</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3937</c:v>
                </c:pt>
                <c:pt idx="1">
                  <c:v>6.188435</c:v>
                </c:pt>
                <c:pt idx="2">
                  <c:v>2.6216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599488</c:v>
                </c:pt>
                <c:pt idx="1">
                  <c:v>4.751111</c:v>
                </c:pt>
                <c:pt idx="2">
                  <c:v>4.1415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5902</c:v>
                </c:pt>
                <c:pt idx="1">
                  <c:v>3.919984</c:v>
                </c:pt>
                <c:pt idx="2">
                  <c:v>3.8977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042562</c:v>
                </c:pt>
                <c:pt idx="1">
                  <c:v>1.720547</c:v>
                </c:pt>
                <c:pt idx="2">
                  <c:v>0.97243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Daisy</c:v>
                </c:pt>
              </c:strCache>
            </c:strRef>
          </c:tx>
          <c:spPr>
            <a:solidFill>
              <a:srgbClr val="7F7F7F"/>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526553</c:v>
                </c:pt>
                <c:pt idx="1">
                  <c:v>1.41336</c:v>
                </c:pt>
                <c:pt idx="2">
                  <c:v>0.90079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Universal Razor</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4.427098</c:v>
                </c:pt>
                <c:pt idx="1">
                  <c:v>2.395817</c:v>
                </c:pt>
                <c:pt idx="2">
                  <c:v>0.99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8.192134</c:v>
                </c:pt>
                <c:pt idx="1">
                  <c:v>38.833718</c:v>
                </c:pt>
                <c:pt idx="2">
                  <c:v>27.8406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0</a:t>
                    </a:r>
                  </a:p>
                </c:rich>
              </c:tx>
              <c:showLegendKey val="0"/>
              <c:showVal val="1"/>
              <c:showCatName val="0"/>
              <c:showSerName val="0"/>
              <c:showPercent val="0"/>
              <c:showBubbleSize val="0"/>
            </c:dLbl>
            <c:dLbl>
              <c:idx val="2"/>
              <c:tx>
                <c:rich>
                  <a:bodyPr/>
                  <a:lstStyle/>
                  <a:p>
                    <a:r>
                      <a:rPr>
                        <a:solidFill>
                          <a:srgbClr val="FFFFFF"/>
                        </a:solidFill>
                      </a:rPr>
                      <a:t>1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6.648798</c:v>
                </c:pt>
                <c:pt idx="1">
                  <c:v>23.007075</c:v>
                </c:pt>
                <c:pt idx="2">
                  <c:v>12.935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0</a:t>
                    </a:r>
                  </a:p>
                </c:rich>
              </c:tx>
              <c:showLegendKey val="0"/>
              <c:showVal val="1"/>
              <c:showCatName val="0"/>
              <c:showSerName val="0"/>
              <c:showPercent val="0"/>
              <c:showBubbleSize val="0"/>
            </c:dLbl>
            <c:dLbl>
              <c:idx val="2"/>
              <c:tx>
                <c:rich>
                  <a:bodyPr/>
                  <a:lstStyle/>
                  <a:p>
                    <a:r>
                      <a:rPr>
                        <a:solidFill>
                          <a:srgbClr val="FFFFFF"/>
                        </a:solidFill>
                      </a:rPr>
                      <a:t>2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7.09829</c:v>
                </c:pt>
                <c:pt idx="1">
                  <c:v>33.015149</c:v>
                </c:pt>
                <c:pt idx="2">
                  <c:v>22.77751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614932</c:v>
                </c:pt>
                <c:pt idx="1">
                  <c:v>8.81314</c:v>
                </c:pt>
                <c:pt idx="2">
                  <c:v>4.53342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6.767732</c:v>
                </c:pt>
                <c:pt idx="1">
                  <c:v>6.015325</c:v>
                </c:pt>
                <c:pt idx="2">
                  <c:v>3.64811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6.588683</c:v>
                </c:pt>
                <c:pt idx="1">
                  <c:v>7.569741</c:v>
                </c:pt>
                <c:pt idx="2">
                  <c:v>5.53766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0</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8.937572</c:v>
                </c:pt>
                <c:pt idx="1">
                  <c:v>6.988801</c:v>
                </c:pt>
                <c:pt idx="2">
                  <c:v>4.60974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c Silky Touch</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3</a:t>
                    </a:r>
                  </a:p>
                </c:rich>
              </c:tx>
              <c:showLegendKey val="0"/>
              <c:showVal val="1"/>
              <c:showCatName val="0"/>
              <c:showSerName val="0"/>
              <c:showPercent val="0"/>
              <c:showBubbleSize val="0"/>
            </c:dLbl>
            <c:dLbl>
              <c:idx val="2"/>
              <c:tx>
                <c:rich>
                  <a:bodyPr/>
                  <a:lstStyle/>
                  <a:p>
                    <a:r>
                      <a:rPr>
                        <a:solidFill>
                          <a:srgbClr val="FFFFFF"/>
                        </a:solidFill>
                      </a:rPr>
                      <a:t>3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40.651737</c:v>
                </c:pt>
                <c:pt idx="1">
                  <c:v>41.271461</c:v>
                </c:pt>
                <c:pt idx="2">
                  <c:v>31.10109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5.336479</c:v>
                </c:pt>
                <c:pt idx="1">
                  <c:v>3.335484</c:v>
                </c:pt>
                <c:pt idx="2">
                  <c:v>1.18450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7</a:t>
                    </a:r>
                  </a:p>
                </c:rich>
              </c:tx>
              <c:showLegendKey val="0"/>
              <c:showVal val="1"/>
              <c:showCatName val="0"/>
              <c:showSerName val="0"/>
              <c:showPercent val="0"/>
              <c:showBubbleSize val="0"/>
            </c:dLbl>
            <c:dLbl>
              <c:idx val="2"/>
              <c:tx>
                <c:rich>
                  <a:bodyPr/>
                  <a:lstStyle/>
                  <a:p>
                    <a:r>
                      <a:rPr>
                        <a:solidFill>
                          <a:srgbClr val="FFFFFF"/>
                        </a:solidFill>
                      </a:rPr>
                      <a:t>1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5.537109</c:v>
                </c:pt>
                <c:pt idx="1">
                  <c:v>15.743648</c:v>
                </c:pt>
                <c:pt idx="2">
                  <c:v>11.3674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03.2</a:t>
                    </a:r>
                  </a:p>
                </c:rich>
              </c:tx>
              <c:showLegendKey val="0"/>
              <c:showVal val="1"/>
              <c:showCatName val="0"/>
              <c:showSerName val="0"/>
              <c:showPercent val="0"/>
              <c:showBubbleSize val="0"/>
            </c:dLbl>
            <c:dLbl>
              <c:idx val="1"/>
              <c:tx>
                <c:rich>
                  <a:bodyPr/>
                  <a:lstStyle/>
                  <a:p>
                    <a:r>
                      <a:rPr>
                        <a:solidFill>
                          <a:srgbClr val="FFFFFF"/>
                        </a:solidFill>
                      </a:rPr>
                      <a:t>105.3</a:t>
                    </a:r>
                  </a:p>
                </c:rich>
              </c:tx>
              <c:showLegendKey val="0"/>
              <c:showVal val="1"/>
              <c:showCatName val="0"/>
              <c:showSerName val="0"/>
              <c:showPercent val="0"/>
              <c:showBubbleSize val="0"/>
            </c:dLbl>
            <c:dLbl>
              <c:idx val="2"/>
              <c:tx>
                <c:rich>
                  <a:bodyPr/>
                  <a:lstStyle/>
                  <a:p>
                    <a:r>
                      <a:rPr>
                        <a:solidFill>
                          <a:srgbClr val="FFFFFF"/>
                        </a:solidFill>
                      </a:rPr>
                      <a:t>7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3.152052</c:v>
                </c:pt>
                <c:pt idx="1">
                  <c:v>105.295071</c:v>
                </c:pt>
                <c:pt idx="2">
                  <c:v>77.4931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40.4</a:t>
                    </a:r>
                  </a:p>
                </c:rich>
              </c:tx>
              <c:showLegendKey val="0"/>
              <c:showVal val="1"/>
              <c:showCatName val="0"/>
              <c:showSerName val="0"/>
              <c:showPercent val="0"/>
              <c:showBubbleSize val="0"/>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436945</c:v>
                </c:pt>
                <c:pt idx="1">
                  <c:v>38.824878</c:v>
                </c:pt>
                <c:pt idx="2">
                  <c:v>22.10874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32.9</a:t>
                    </a:r>
                  </a:p>
                </c:rich>
              </c:tx>
              <c:showLegendKey val="0"/>
              <c:showVal val="1"/>
              <c:showCatName val="0"/>
              <c:showSerName val="0"/>
              <c:showPercent val="0"/>
              <c:showBubbleSize val="0"/>
            </c:dLbl>
            <c:dLbl>
              <c:idx val="1"/>
              <c:tx>
                <c:rich>
                  <a:bodyPr/>
                  <a:lstStyle/>
                  <a:p>
                    <a:r>
                      <a:rPr>
                        <a:solidFill>
                          <a:srgbClr val="FFFFFF"/>
                        </a:solidFill>
                      </a:rPr>
                      <a:t>33.0</a:t>
                    </a:r>
                  </a:p>
                </c:rich>
              </c:tx>
              <c:showLegendKey val="0"/>
              <c:showVal val="1"/>
              <c:showCatName val="0"/>
              <c:showSerName val="0"/>
              <c:showPercent val="0"/>
              <c:showBubbleSize val="0"/>
            </c:dLbl>
            <c:dLbl>
              <c:idx val="2"/>
              <c:tx>
                <c:rich>
                  <a:bodyPr/>
                  <a:lstStyle/>
                  <a:p>
                    <a:r>
                      <a:rPr>
                        <a:solidFill>
                          <a:srgbClr val="FFFFFF"/>
                        </a:solidFill>
                      </a:rPr>
                      <a:t>2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2.911728</c:v>
                </c:pt>
                <c:pt idx="1">
                  <c:v>33.028536</c:v>
                </c:pt>
                <c:pt idx="2">
                  <c:v>24.6416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25.8</a:t>
                    </a:r>
                  </a:p>
                </c:rich>
              </c:tx>
              <c:showLegendKey val="0"/>
              <c:showVal val="1"/>
              <c:showCatName val="0"/>
              <c:showSerName val="0"/>
              <c:showPercent val="0"/>
              <c:showBubbleSize val="0"/>
            </c:dLbl>
            <c:dLbl>
              <c:idx val="1"/>
              <c:tx>
                <c:rich>
                  <a:bodyPr/>
                  <a:lstStyle/>
                  <a:p>
                    <a:r>
                      <a:rPr>
                        <a:solidFill>
                          <a:srgbClr val="FFFFFF"/>
                        </a:solidFill>
                      </a:rPr>
                      <a:t>28.8</a:t>
                    </a:r>
                  </a:p>
                </c:rich>
              </c:tx>
              <c:showLegendKey val="0"/>
              <c:showVal val="1"/>
              <c:showCatName val="0"/>
              <c:showSerName val="0"/>
              <c:showPercent val="0"/>
              <c:showBubbleSize val="0"/>
            </c:dLbl>
            <c:dLbl>
              <c:idx val="2"/>
              <c:tx>
                <c:rich>
                  <a:bodyPr/>
                  <a:lstStyle/>
                  <a:p>
                    <a:r>
                      <a:rPr>
                        <a:solidFill>
                          <a:srgbClr val="FFFFFF"/>
                        </a:solidFill>
                      </a:rPr>
                      <a:t>1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5.805766</c:v>
                </c:pt>
                <c:pt idx="1">
                  <c:v>28.750659</c:v>
                </c:pt>
                <c:pt idx="2">
                  <c:v>14.7360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tx>
                <c:rich>
                  <a:bodyPr/>
                  <a:lstStyle/>
                  <a:p>
                    <a:r>
                      <a:rPr>
                        <a:solidFill>
                          <a:srgbClr val="FFFFFF"/>
                        </a:solidFill>
                      </a:rPr>
                      <a:t>25.9</a:t>
                    </a:r>
                  </a:p>
                </c:rich>
              </c:tx>
              <c:showLegendKey val="0"/>
              <c:showVal val="1"/>
              <c:showCatName val="0"/>
              <c:showSerName val="0"/>
              <c:showPercent val="0"/>
              <c:showBubbleSize val="0"/>
            </c:dLbl>
            <c:dLbl>
              <c:idx val="1"/>
              <c:tx>
                <c:rich>
                  <a:bodyPr/>
                  <a:lstStyle/>
                  <a:p>
                    <a:r>
                      <a:rPr>
                        <a:solidFill>
                          <a:srgbClr val="FFFFFF"/>
                        </a:solidFill>
                      </a:rPr>
                      <a:t>24.7</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5.893193</c:v>
                </c:pt>
                <c:pt idx="1">
                  <c:v>24.657988</c:v>
                </c:pt>
                <c:pt idx="2">
                  <c:v>14.86850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24.7</a:t>
                    </a:r>
                  </a:p>
                </c:rich>
              </c:tx>
              <c:showLegendKey val="0"/>
              <c:showVal val="1"/>
              <c:showCatName val="0"/>
              <c:showSerName val="0"/>
              <c:showPercent val="0"/>
              <c:showBubbleSize val="0"/>
            </c:dLbl>
            <c:dLbl>
              <c:idx val="1"/>
              <c:tx>
                <c:rich>
                  <a:bodyPr/>
                  <a:lstStyle/>
                  <a:p>
                    <a:r>
                      <a:rPr>
                        <a:solidFill>
                          <a:srgbClr val="FFFFFF"/>
                        </a:solidFill>
                      </a:rPr>
                      <a:t>23.5</a:t>
                    </a:r>
                  </a:p>
                </c:rich>
              </c:tx>
              <c:showLegendKey val="0"/>
              <c:showVal val="1"/>
              <c:showCatName val="0"/>
              <c:showSerName val="0"/>
              <c:showPercent val="0"/>
              <c:showBubbleSize val="0"/>
            </c:dLbl>
            <c:dLbl>
              <c:idx val="2"/>
              <c:tx>
                <c:rich>
                  <a:bodyPr/>
                  <a:lstStyle/>
                  <a:p>
                    <a:r>
                      <a:rPr>
                        <a:solidFill>
                          <a:srgbClr val="FFFFFF"/>
                        </a:solidFill>
                      </a:rPr>
                      <a:t>1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4.660221</c:v>
                </c:pt>
                <c:pt idx="1">
                  <c:v>23.54959</c:v>
                </c:pt>
                <c:pt idx="2">
                  <c:v>16.5518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22.0</a:t>
                    </a:r>
                  </a:p>
                </c:rich>
              </c:tx>
              <c:showLegendKey val="0"/>
              <c:showVal val="1"/>
              <c:showCatName val="0"/>
              <c:showSerName val="0"/>
              <c:showPercent val="0"/>
              <c:showBubbleSize val="0"/>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1.955579</c:v>
                </c:pt>
                <c:pt idx="1">
                  <c:v>18.701531</c:v>
                </c:pt>
                <c:pt idx="2">
                  <c:v>12.21438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a:solidFill>
                          <a:srgbClr val="FFFFFF"/>
                        </a:solidFill>
                      </a:rPr>
                      <a:t>12.1</a:t>
                    </a:r>
                  </a:p>
                </c:rich>
              </c:tx>
              <c:showLegendKey val="0"/>
              <c:showVal val="1"/>
              <c:showCatName val="0"/>
              <c:showSerName val="0"/>
              <c:showPercent val="0"/>
              <c:showBubbleSize val="0"/>
            </c:dLbl>
            <c:dLbl>
              <c:idx val="1"/>
              <c:tx>
                <c:rich>
                  <a:bodyPr/>
                  <a:lstStyle/>
                  <a:p>
                    <a:r>
                      <a:rPr>
                        <a:solidFill>
                          <a:srgbClr val="FFFFFF"/>
                        </a:solidFill>
                      </a:rPr>
                      <a:t>11.9</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2.071969</c:v>
                </c:pt>
                <c:pt idx="1">
                  <c:v>11.925955</c:v>
                </c:pt>
                <c:pt idx="2">
                  <c:v>8.74659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7.132784</c:v>
                </c:pt>
                <c:pt idx="1">
                  <c:v>4.847833</c:v>
                </c:pt>
                <c:pt idx="2">
                  <c:v>1.73798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0.1</a:t>
                    </a:r>
                  </a:p>
                </c:rich>
              </c:tx>
              <c:showLegendKey val="0"/>
              <c:showVal val="1"/>
              <c:showCatName val="0"/>
              <c:showSerName val="0"/>
              <c:showPercent val="0"/>
              <c:showBubbleSize val="0"/>
            </c:dLbl>
            <c:dLbl>
              <c:idx val="1"/>
              <c:tx>
                <c:rich>
                  <a:bodyPr/>
                  <a:lstStyle/>
                  <a:p>
                    <a:r>
                      <a:rPr>
                        <a:solidFill>
                          <a:srgbClr val="FFFFFF"/>
                        </a:solidFill>
                      </a:rPr>
                      <a:t>23.4</a:t>
                    </a:r>
                  </a:p>
                </c:rich>
              </c:tx>
              <c:showLegendKey val="0"/>
              <c:showVal val="1"/>
              <c:showCatName val="0"/>
              <c:showSerName val="0"/>
              <c:showPercent val="0"/>
              <c:showBubbleSize val="0"/>
            </c:dLbl>
            <c:dLbl>
              <c:idx val="2"/>
              <c:tx>
                <c:rich>
                  <a:bodyPr/>
                  <a:lstStyle/>
                  <a:p>
                    <a:r>
                      <a:rPr>
                        <a:solidFill>
                          <a:srgbClr val="FFFFFF"/>
                        </a:solidFill>
                      </a:rPr>
                      <a:t>1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20.129301</c:v>
                </c:pt>
                <c:pt idx="1">
                  <c:v>23.449246</c:v>
                </c:pt>
                <c:pt idx="2">
                  <c:v>17.7910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14661</c:v>
                </c:pt>
                <c:pt idx="1">
                  <c:v>3.318009</c:v>
                </c:pt>
                <c:pt idx="2">
                  <c:v>2.1951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467412</c:v>
                </c:pt>
                <c:pt idx="1">
                  <c:v>1.556422</c:v>
                </c:pt>
                <c:pt idx="2">
                  <c:v>1.33905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833609</c:v>
                </c:pt>
                <c:pt idx="1">
                  <c:v>2.005945</c:v>
                </c:pt>
                <c:pt idx="2">
                  <c:v>1.45021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17999</c:v>
                </c:pt>
                <c:pt idx="1">
                  <c:v>0.581858</c:v>
                </c:pt>
                <c:pt idx="2">
                  <c:v>0.93540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594442</c:v>
                </c:pt>
                <c:pt idx="1">
                  <c:v>0.408345</c:v>
                </c:pt>
                <c:pt idx="2">
                  <c:v>0.39536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337395</c:v>
                </c:pt>
                <c:pt idx="1">
                  <c:v>0.489161</c:v>
                </c:pt>
                <c:pt idx="2">
                  <c:v>0.44702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07089</c:v>
                </c:pt>
                <c:pt idx="1">
                  <c:v>0.15781</c:v>
                </c:pt>
                <c:pt idx="2">
                  <c:v>0.13090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04134</c:v>
                </c:pt>
                <c:pt idx="1">
                  <c:v>0.128382</c:v>
                </c:pt>
                <c:pt idx="2">
                  <c:v>0.06163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6402</c:v>
                </c:pt>
                <c:pt idx="1">
                  <c:v>0.056814</c:v>
                </c:pt>
                <c:pt idx="2">
                  <c:v>0.05266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373308</c:v>
                </c:pt>
                <c:pt idx="1">
                  <c:v>1.636985</c:v>
                </c:pt>
                <c:pt idx="2">
                  <c:v>1.1913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8.0</a:t>
                    </a:r>
                  </a:p>
                </c:rich>
              </c:tx>
              <c:showLegendKey val="0"/>
              <c:showVal val="1"/>
              <c:showCatName val="0"/>
              <c:showSerName val="0"/>
              <c:showPercent val="0"/>
              <c:showBubbleSize val="0"/>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007913</c:v>
                </c:pt>
                <c:pt idx="1">
                  <c:v>9.321096</c:v>
                </c:pt>
                <c:pt idx="2">
                  <c:v>6.11543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a:solidFill>
                          <a:srgbClr val="FFFFFF"/>
                        </a:solidFill>
                      </a:rPr>
                      <a:t>7.2</a:t>
                    </a:r>
                  </a:p>
                </c:rich>
              </c:tx>
              <c:showLegendKey val="0"/>
              <c:showVal val="1"/>
              <c:showCatName val="0"/>
              <c:showSerName val="0"/>
              <c:showPercent val="0"/>
              <c:showBubbleSize val="0"/>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160936</c:v>
                </c:pt>
                <c:pt idx="1">
                  <c:v>7.562722</c:v>
                </c:pt>
                <c:pt idx="2">
                  <c:v>6.0216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353736</c:v>
                </c:pt>
                <c:pt idx="1">
                  <c:v>2.797746</c:v>
                </c:pt>
                <c:pt idx="2">
                  <c:v>2.06798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66596</c:v>
                </c:pt>
                <c:pt idx="1">
                  <c:v>1.716804</c:v>
                </c:pt>
                <c:pt idx="2">
                  <c:v>2.3830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26321</c:v>
                </c:pt>
                <c:pt idx="1">
                  <c:v>0.886415</c:v>
                </c:pt>
                <c:pt idx="2">
                  <c:v>0.82104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8565</c:v>
                </c:pt>
                <c:pt idx="1">
                  <c:v>0.985809</c:v>
                </c:pt>
                <c:pt idx="2">
                  <c:v>0.77727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729062</c:v>
                </c:pt>
                <c:pt idx="1">
                  <c:v>0.536577</c:v>
                </c:pt>
                <c:pt idx="2">
                  <c:v>0.42788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475216</c:v>
                </c:pt>
                <c:pt idx="1">
                  <c:v>0.267769</c:v>
                </c:pt>
                <c:pt idx="2">
                  <c:v>0.14394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50933</c:v>
                </c:pt>
                <c:pt idx="1">
                  <c:v>0.079087</c:v>
                </c:pt>
                <c:pt idx="2">
                  <c:v>0.08479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2.812553</c:v>
                </c:pt>
                <c:pt idx="1">
                  <c:v>3.103993</c:v>
                </c:pt>
                <c:pt idx="2">
                  <c:v>2.450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8.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6.6</a:t>
                    </a:r>
                  </a:p>
                </c:rich>
              </c:tx>
              <c:showLegendKey val="0"/>
              <c:showVal val="1"/>
              <c:showCatName val="0"/>
              <c:showSerName val="0"/>
              <c:showPercent val="0"/>
              <c:showBubbleSize val="0"/>
            </c:dLbl>
            <c:dLbl>
              <c:idx val="2"/>
              <c:tx>
                <c:rich>
                  <a:bodyPr/>
                  <a:lstStyle/>
                  <a:p>
                    <a:r>
                      <a:rPr>
                        <a:solidFill>
                          <a:srgbClr val="FFFFFF"/>
                        </a:solidFill>
                      </a:rPr>
                      <a:t>6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8.31786</c:v>
                </c:pt>
                <c:pt idx="1">
                  <c:v>86.6387</c:v>
                </c:pt>
                <c:pt idx="2">
                  <c:v>64.0106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9.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2</a:t>
                    </a:r>
                  </a:p>
                </c:rich>
              </c:tx>
              <c:showLegendKey val="0"/>
              <c:showVal val="1"/>
              <c:showCatName val="0"/>
              <c:showSerName val="0"/>
              <c:showPercent val="0"/>
              <c:showBubbleSize val="0"/>
            </c:dLbl>
            <c:dLbl>
              <c:idx val="2"/>
              <c:tx>
                <c:rich>
                  <a:bodyPr/>
                  <a:lstStyle/>
                  <a:p>
                    <a:r>
                      <a:rPr>
                        <a:solidFill>
                          <a:srgbClr val="FFFFFF"/>
                        </a:solidFill>
                      </a:rPr>
                      <a:t>4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9.318372</c:v>
                </c:pt>
                <c:pt idx="1">
                  <c:v>71.201723</c:v>
                </c:pt>
                <c:pt idx="2">
                  <c:v>46.49843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8.5</a:t>
                    </a:r>
                  </a:p>
                </c:rich>
              </c:tx>
              <c:showLegendKey val="0"/>
              <c:showVal val="1"/>
              <c:showCatName val="0"/>
              <c:showSerName val="0"/>
              <c:showPercent val="0"/>
              <c:showBubbleSize val="0"/>
            </c:dLbl>
            <c:dLbl>
              <c:idx val="2"/>
              <c:tx>
                <c:rich>
                  <a:bodyPr/>
                  <a:lstStyle/>
                  <a:p>
                    <a:r>
                      <a:rPr>
                        <a:solidFill>
                          <a:srgbClr val="FFFFFF"/>
                        </a:solidFill>
                      </a:rPr>
                      <a:t>4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74.362939</c:v>
                </c:pt>
                <c:pt idx="1">
                  <c:v>68.518067</c:v>
                </c:pt>
                <c:pt idx="2">
                  <c:v>46.08942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8.2</a:t>
                    </a:r>
                  </a:p>
                </c:rich>
              </c:tx>
              <c:showLegendKey val="0"/>
              <c:showVal val="1"/>
              <c:showCatName val="0"/>
              <c:showSerName val="0"/>
              <c:showPercent val="0"/>
              <c:showBubbleSize val="0"/>
            </c:dLbl>
            <c:dLbl>
              <c:idx val="2"/>
              <c:tx>
                <c:rich>
                  <a:bodyPr/>
                  <a:lstStyle/>
                  <a:p>
                    <a:r>
                      <a:rPr>
                        <a:solidFill>
                          <a:srgbClr val="FFFFFF"/>
                        </a:solidFill>
                      </a:rPr>
                      <a:t>7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2.186594</c:v>
                </c:pt>
                <c:pt idx="1">
                  <c:v>98.249592</c:v>
                </c:pt>
                <c:pt idx="2">
                  <c:v>70.45276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4</a:t>
                    </a:r>
                  </a:p>
                </c:rich>
              </c:tx>
              <c:showLegendKey val="0"/>
              <c:showVal val="1"/>
              <c:showCatName val="0"/>
              <c:showSerName val="0"/>
              <c:showPercent val="0"/>
              <c:showBubbleSize val="0"/>
            </c:dLbl>
            <c:dLbl>
              <c:idx val="2"/>
              <c:tx>
                <c:rich>
                  <a:bodyPr/>
                  <a:lstStyle/>
                  <a:p>
                    <a:r>
                      <a:rPr>
                        <a:solidFill>
                          <a:srgbClr val="FFFFFF"/>
                        </a:solidFill>
                      </a:rPr>
                      <a:t>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691984</c:v>
                </c:pt>
                <c:pt idx="1">
                  <c:v>15.42448</c:v>
                </c:pt>
                <c:pt idx="2">
                  <c:v>8.41918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4.399793</c:v>
                </c:pt>
                <c:pt idx="1">
                  <c:v>4.128893</c:v>
                </c:pt>
                <c:pt idx="2">
                  <c:v>2.30440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5.007546</c:v>
                </c:pt>
                <c:pt idx="1">
                  <c:v>13.49325</c:v>
                </c:pt>
                <c:pt idx="2">
                  <c:v>8.51306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4</a:t>
                    </a:r>
                  </a:p>
                </c:rich>
              </c:tx>
              <c:showLegendKey val="0"/>
              <c:showVal val="1"/>
              <c:showCatName val="0"/>
              <c:showSerName val="0"/>
              <c:showPercent val="0"/>
              <c:showBubbleSize val="0"/>
            </c:dLbl>
            <c:dLbl>
              <c:idx val="2"/>
              <c:tx>
                <c:rich>
                  <a:bodyPr/>
                  <a:lstStyle/>
                  <a:p>
                    <a:r>
                      <a:rPr>
                        <a:solidFill>
                          <a:srgbClr val="FFFFFF"/>
                        </a:solidFill>
                      </a:rPr>
                      <a:t>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563577</c:v>
                </c:pt>
                <c:pt idx="1">
                  <c:v>11.449392</c:v>
                </c:pt>
                <c:pt idx="2">
                  <c:v>7.68325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1982</c:v>
                </c:pt>
                <c:pt idx="1">
                  <c:v>0.88412</c:v>
                </c:pt>
                <c:pt idx="2">
                  <c:v>0.65055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9.925157</c:v>
                </c:pt>
                <c:pt idx="1">
                  <c:v>6.926148</c:v>
                </c:pt>
                <c:pt idx="2">
                  <c:v>4.0520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77.1</a:t>
                    </a:r>
                  </a:p>
                </c:rich>
              </c:tx>
              <c:showLegendKey val="0"/>
              <c:showVal val="1"/>
              <c:showCatName val="0"/>
              <c:showSerName val="0"/>
              <c:showPercent val="0"/>
              <c:showBubbleSize val="0"/>
            </c:dLbl>
            <c:dLbl>
              <c:idx val="1"/>
              <c:tx>
                <c:rich>
                  <a:bodyPr/>
                  <a:lstStyle/>
                  <a:p>
                    <a:r>
                      <a:rPr>
                        <a:solidFill>
                          <a:srgbClr val="FFFFFF"/>
                        </a:solidFill>
                      </a:rPr>
                      <a:t>172.8</a:t>
                    </a:r>
                  </a:p>
                </c:rich>
              </c:tx>
              <c:showLegendKey val="0"/>
              <c:showVal val="1"/>
              <c:showCatName val="0"/>
              <c:showSerName val="0"/>
              <c:showPercent val="0"/>
              <c:showBubbleSize val="0"/>
            </c:dLbl>
            <c:dLbl>
              <c:idx val="2"/>
              <c:tx>
                <c:rich>
                  <a:bodyPr/>
                  <a:lstStyle/>
                  <a:p>
                    <a:r>
                      <a:rPr>
                        <a:solidFill>
                          <a:srgbClr val="FFFFFF"/>
                        </a:solidFill>
                      </a:rPr>
                      <a:t>12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7.053539</c:v>
                </c:pt>
                <c:pt idx="1">
                  <c:v>172.79652</c:v>
                </c:pt>
                <c:pt idx="2">
                  <c:v>127.0347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115.9</a:t>
                    </a:r>
                  </a:p>
                </c:rich>
              </c:tx>
              <c:showLegendKey val="0"/>
              <c:showVal val="1"/>
              <c:showCatName val="0"/>
              <c:showSerName val="0"/>
              <c:showPercent val="0"/>
              <c:showBubbleSize val="0"/>
            </c:dLbl>
            <c:dLbl>
              <c:idx val="1"/>
              <c:tx>
                <c:rich>
                  <a:bodyPr/>
                  <a:lstStyle/>
                  <a:p>
                    <a:r>
                      <a:rPr>
                        <a:solidFill>
                          <a:srgbClr val="FFFFFF"/>
                        </a:solidFill>
                      </a:rPr>
                      <a:t>113.0</a:t>
                    </a:r>
                  </a:p>
                </c:rich>
              </c:tx>
              <c:showLegendKey val="0"/>
              <c:showVal val="1"/>
              <c:showCatName val="0"/>
              <c:showSerName val="0"/>
              <c:showPercent val="0"/>
              <c:showBubbleSize val="0"/>
            </c:dLbl>
            <c:dLbl>
              <c:idx val="2"/>
              <c:tx>
                <c:rich>
                  <a:bodyPr/>
                  <a:lstStyle/>
                  <a:p>
                    <a:r>
                      <a:rPr>
                        <a:solidFill>
                          <a:srgbClr val="FFFFFF"/>
                        </a:solidFill>
                      </a:rPr>
                      <a:t>7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5.889707</c:v>
                </c:pt>
                <c:pt idx="1">
                  <c:v>113.044293</c:v>
                </c:pt>
                <c:pt idx="2">
                  <c:v>73.35347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61.5</a:t>
                    </a:r>
                  </a:p>
                </c:rich>
              </c:tx>
              <c:showLegendKey val="0"/>
              <c:showVal val="1"/>
              <c:showCatName val="0"/>
              <c:showSerName val="0"/>
              <c:showPercent val="0"/>
              <c:showBubbleSize val="0"/>
            </c:dLbl>
            <c:dLbl>
              <c:idx val="1"/>
              <c:tx>
                <c:rich>
                  <a:bodyPr/>
                  <a:lstStyle/>
                  <a:p>
                    <a:r>
                      <a:rPr>
                        <a:solidFill>
                          <a:srgbClr val="FFFFFF"/>
                        </a:solidFill>
                      </a:rPr>
                      <a:t>64.2</a:t>
                    </a:r>
                  </a:p>
                </c:rich>
              </c:tx>
              <c:showLegendKey val="0"/>
              <c:showVal val="1"/>
              <c:showCatName val="0"/>
              <c:showSerName val="0"/>
              <c:showPercent val="0"/>
              <c:showBubbleSize val="0"/>
            </c:dLbl>
            <c:dLbl>
              <c:idx val="2"/>
              <c:tx>
                <c:rich>
                  <a:bodyPr/>
                  <a:lstStyle/>
                  <a:p>
                    <a:r>
                      <a:rPr>
                        <a:solidFill>
                          <a:srgbClr val="FFFFFF"/>
                        </a:solidFill>
                      </a:rPr>
                      <a:t>4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1.500913</c:v>
                </c:pt>
                <c:pt idx="1">
                  <c:v>64.230139</c:v>
                </c:pt>
                <c:pt idx="2">
                  <c:v>46.2898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tx>
                <c:rich>
                  <a:bodyPr/>
                  <a:lstStyle/>
                  <a:p>
                    <a:r>
                      <a:rPr>
                        <a:solidFill>
                          <a:srgbClr val="FFFFFF"/>
                        </a:solidFill>
                      </a:rPr>
                      <a:t>32.2</a:t>
                    </a:r>
                  </a:p>
                </c:rich>
              </c:tx>
              <c:showLegendKey val="0"/>
              <c:showVal val="1"/>
              <c:showCatName val="0"/>
              <c:showSerName val="0"/>
              <c:showPercent val="0"/>
              <c:showBubbleSize val="0"/>
            </c:dLbl>
            <c:dLbl>
              <c:idx val="1"/>
              <c:tx>
                <c:rich>
                  <a:bodyPr/>
                  <a:lstStyle/>
                  <a:p>
                    <a:r>
                      <a:rPr>
                        <a:solidFill>
                          <a:srgbClr val="FFFFFF"/>
                        </a:solidFill>
                      </a:rPr>
                      <a:t>30.5</a:t>
                    </a:r>
                  </a:p>
                </c:rich>
              </c:tx>
              <c:showLegendKey val="0"/>
              <c:showVal val="1"/>
              <c:showCatName val="0"/>
              <c:showSerName val="0"/>
              <c:showPercent val="0"/>
              <c:showBubbleSize val="0"/>
            </c:dLbl>
            <c:dLbl>
              <c:idx val="2"/>
              <c:tx>
                <c:rich>
                  <a:bodyPr/>
                  <a:lstStyle/>
                  <a:p>
                    <a:r>
                      <a:rPr>
                        <a:solidFill>
                          <a:srgbClr val="FFFFFF"/>
                        </a:solidFill>
                      </a:rPr>
                      <a:t>2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2.22987</c:v>
                </c:pt>
                <c:pt idx="1">
                  <c:v>30.54306</c:v>
                </c:pt>
                <c:pt idx="2">
                  <c:v>21.26893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28.2</a:t>
                    </a:r>
                  </a:p>
                </c:rich>
              </c:tx>
              <c:showLegendKey val="0"/>
              <c:showVal val="1"/>
              <c:showCatName val="0"/>
              <c:showSerName val="0"/>
              <c:showPercent val="0"/>
              <c:showBubbleSize val="0"/>
            </c:dLbl>
            <c:dLbl>
              <c:idx val="1"/>
              <c:tx>
                <c:rich>
                  <a:bodyPr/>
                  <a:lstStyle/>
                  <a:p>
                    <a:r>
                      <a:rPr>
                        <a:solidFill>
                          <a:srgbClr val="FFFFFF"/>
                        </a:solidFill>
                      </a:rPr>
                      <a:t>24.5</a:t>
                    </a:r>
                  </a:p>
                </c:rich>
              </c:tx>
              <c:showLegendKey val="0"/>
              <c:showVal val="1"/>
              <c:showCatName val="0"/>
              <c:showSerName val="0"/>
              <c:showPercent val="0"/>
              <c:showBubbleSize val="0"/>
            </c:dLbl>
            <c:dLbl>
              <c:idx val="2"/>
              <c:tx>
                <c:rich>
                  <a:bodyPr/>
                  <a:lstStyle/>
                  <a:p>
                    <a:r>
                      <a:rPr>
                        <a:solidFill>
                          <a:srgbClr val="FFFFFF"/>
                        </a:solidFill>
                      </a:rPr>
                      <a:t>1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8.21075</c:v>
                </c:pt>
                <c:pt idx="1">
                  <c:v>24.454749</c:v>
                </c:pt>
                <c:pt idx="2">
                  <c:v>13.2980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16.0</a:t>
                    </a:r>
                  </a:p>
                </c:rich>
              </c:tx>
              <c:showLegendKey val="0"/>
              <c:showVal val="1"/>
              <c:showCatName val="0"/>
              <c:showSerName val="0"/>
              <c:showPercent val="0"/>
              <c:showBubbleSize val="0"/>
            </c:dLbl>
            <c:dLbl>
              <c:idx val="1"/>
              <c:tx>
                <c:rich>
                  <a:bodyPr/>
                  <a:lstStyle/>
                  <a:p>
                    <a:r>
                      <a:rPr>
                        <a:solidFill>
                          <a:srgbClr val="FFFFFF"/>
                        </a:solidFill>
                      </a:rPr>
                      <a:t>15.2</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6.046717</c:v>
                </c:pt>
                <c:pt idx="1">
                  <c:v>15.172033</c:v>
                </c:pt>
                <c:pt idx="2">
                  <c:v>8.06971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tx>
                <c:rich>
                  <a:bodyPr/>
                  <a:lstStyle/>
                  <a:p>
                    <a:r>
                      <a:rPr>
                        <a:solidFill>
                          <a:srgbClr val="FFFFFF"/>
                        </a:solidFill>
                      </a:rPr>
                      <a:t>13.6</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3.609138</c:v>
                </c:pt>
                <c:pt idx="1">
                  <c:v>12.502014</c:v>
                </c:pt>
                <c:pt idx="2">
                  <c:v>7.85236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7.0</a:t>
                    </a:r>
                  </a:p>
                </c:rich>
              </c:tx>
              <c:showLegendKey val="0"/>
              <c:showVal val="1"/>
              <c:showCatName val="0"/>
              <c:showSerName val="0"/>
              <c:showPercent val="0"/>
              <c:showBubbleSize val="0"/>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6.980223</c:v>
                </c:pt>
                <c:pt idx="1">
                  <c:v>7.622029</c:v>
                </c:pt>
                <c:pt idx="2">
                  <c:v>4.79963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64863</c:v>
                </c:pt>
                <c:pt idx="1">
                  <c:v>3.471449</c:v>
                </c:pt>
                <c:pt idx="2">
                  <c:v>2.31046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2</a:t>
                    </a:r>
                  </a:p>
                </c:rich>
              </c:tx>
              <c:showLegendKey val="0"/>
              <c:showVal val="1"/>
              <c:showCatName val="0"/>
              <c:showSerName val="0"/>
              <c:showPercent val="0"/>
              <c:showBubbleSize val="0"/>
            </c:dLbl>
            <c:dLbl>
              <c:idx val="1"/>
              <c:tx>
                <c:rich>
                  <a:bodyPr/>
                  <a:lstStyle/>
                  <a:p>
                    <a:r>
                      <a:rPr>
                        <a:solidFill>
                          <a:srgbClr val="FFFFFF"/>
                        </a:solidFill>
                      </a:rPr>
                      <a:t>10.5</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0.208066</c:v>
                </c:pt>
                <c:pt idx="1">
                  <c:v>10.485549</c:v>
                </c:pt>
                <c:pt idx="2">
                  <c:v>6.0944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2</a:t>
                    </a:r>
                  </a:p>
                </c:rich>
              </c:tx>
              <c:showLegendKey val="0"/>
              <c:showVal val="1"/>
              <c:showCatName val="0"/>
              <c:showSerName val="0"/>
              <c:showPercent val="0"/>
              <c:showBubbleSize val="0"/>
            </c:dLbl>
            <c:dLbl>
              <c:idx val="2"/>
              <c:tx>
                <c:rich>
                  <a:bodyPr/>
                  <a:lstStyle/>
                  <a:p>
                    <a:r>
                      <a:rPr>
                        <a:solidFill>
                          <a:srgbClr val="FFFFFF"/>
                        </a:solidFill>
                      </a:rPr>
                      <a:t>5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0.470147</c:v>
                </c:pt>
                <c:pt idx="1">
                  <c:v>71.23965</c:v>
                </c:pt>
                <c:pt idx="2">
                  <c:v>52.7629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9</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5.376026</c:v>
                </c:pt>
                <c:pt idx="1">
                  <c:v>22.862834</c:v>
                </c:pt>
                <c:pt idx="2">
                  <c:v>14.00922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7.824914</c:v>
                </c:pt>
                <c:pt idx="1">
                  <c:v>20.083355</c:v>
                </c:pt>
                <c:pt idx="2">
                  <c:v>14.806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9</a:t>
                    </a:r>
                  </a:p>
                </c:rich>
              </c:tx>
              <c:showLegendKey val="0"/>
              <c:showVal val="1"/>
              <c:showCatName val="0"/>
              <c:showSerName val="0"/>
              <c:showPercent val="0"/>
              <c:showBubbleSize val="0"/>
            </c:dLbl>
            <c:dLbl>
              <c:idx val="2"/>
              <c:tx>
                <c:rich>
                  <a:bodyPr/>
                  <a:lstStyle/>
                  <a:p>
                    <a:r>
                      <a:rPr>
                        <a:solidFill>
                          <a:srgbClr val="FFFFFF"/>
                        </a:solidFill>
                      </a:rPr>
                      <a:t>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3.845768</c:v>
                </c:pt>
                <c:pt idx="1">
                  <c:v>11.855827</c:v>
                </c:pt>
                <c:pt idx="2">
                  <c:v>6.6170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4</a:t>
                    </a:r>
                  </a:p>
                </c:rich>
              </c:tx>
              <c:showLegendKey val="0"/>
              <c:showVal val="1"/>
              <c:showCatName val="0"/>
              <c:showSerName val="0"/>
              <c:showPercent val="0"/>
              <c:showBubbleSize val="0"/>
            </c:dLbl>
            <c:dLbl>
              <c:idx val="2"/>
              <c:tx>
                <c:rich>
                  <a:bodyPr/>
                  <a:lstStyle/>
                  <a:p>
                    <a:r>
                      <a:rPr>
                        <a:solidFill>
                          <a:srgbClr val="FFFFFF"/>
                        </a:solidFill>
                      </a:rPr>
                      <a:t>1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409682</c:v>
                </c:pt>
                <c:pt idx="1">
                  <c:v>17.371636</c:v>
                </c:pt>
                <c:pt idx="2">
                  <c:v>16.6771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1</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3.041964</c:v>
                </c:pt>
                <c:pt idx="1">
                  <c:v>11.126065</c:v>
                </c:pt>
                <c:pt idx="2">
                  <c:v>6.8971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7.126398</c:v>
                </c:pt>
                <c:pt idx="1">
                  <c:v>6.876501</c:v>
                </c:pt>
                <c:pt idx="2">
                  <c:v>4.88634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4.386966</c:v>
                </c:pt>
                <c:pt idx="1">
                  <c:v>3.696447</c:v>
                </c:pt>
                <c:pt idx="2">
                  <c:v>2.65096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629091</c:v>
                </c:pt>
                <c:pt idx="1">
                  <c:v>0.215021</c:v>
                </c:pt>
                <c:pt idx="2">
                  <c:v>0.05885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3</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2.865107</c:v>
                </c:pt>
                <c:pt idx="1">
                  <c:v>15.288388</c:v>
                </c:pt>
                <c:pt idx="2">
                  <c:v>9.4514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24.1</a:t>
                    </a:r>
                  </a:p>
                </c:rich>
              </c:tx>
              <c:showLegendKey val="0"/>
              <c:showVal val="1"/>
              <c:showCatName val="0"/>
              <c:showSerName val="0"/>
              <c:showPercent val="0"/>
              <c:showBubbleSize val="0"/>
            </c:dLbl>
            <c:dLbl>
              <c:idx val="1"/>
              <c:tx>
                <c:rich>
                  <a:bodyPr/>
                  <a:lstStyle/>
                  <a:p>
                    <a:r>
                      <a:rPr>
                        <a:solidFill>
                          <a:srgbClr val="FFFFFF"/>
                        </a:solidFill>
                      </a:rPr>
                      <a:t>332.3</a:t>
                    </a:r>
                  </a:p>
                </c:rich>
              </c:tx>
              <c:showLegendKey val="0"/>
              <c:showVal val="1"/>
              <c:showCatName val="0"/>
              <c:showSerName val="0"/>
              <c:showPercent val="0"/>
              <c:showBubbleSize val="0"/>
            </c:dLbl>
            <c:dLbl>
              <c:idx val="2"/>
              <c:tx>
                <c:rich>
                  <a:bodyPr/>
                  <a:lstStyle/>
                  <a:p>
                    <a:r>
                      <a:rPr>
                        <a:solidFill>
                          <a:srgbClr val="FFFFFF"/>
                        </a:solidFill>
                      </a:rPr>
                      <a:t>24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4.100052</c:v>
                </c:pt>
                <c:pt idx="1">
                  <c:v>332.30833</c:v>
                </c:pt>
                <c:pt idx="2">
                  <c:v>243.1272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99.6</a:t>
                    </a:r>
                  </a:p>
                </c:rich>
              </c:tx>
              <c:showLegendKey val="0"/>
              <c:showVal val="1"/>
              <c:showCatName val="0"/>
              <c:showSerName val="0"/>
              <c:showPercent val="0"/>
              <c:showBubbleSize val="0"/>
            </c:dLbl>
            <c:dLbl>
              <c:idx val="1"/>
              <c:tx>
                <c:rich>
                  <a:bodyPr/>
                  <a:lstStyle/>
                  <a:p>
                    <a:r>
                      <a:rPr>
                        <a:solidFill>
                          <a:srgbClr val="FFFFFF"/>
                        </a:solidFill>
                      </a:rPr>
                      <a:t>92.7</a:t>
                    </a:r>
                  </a:p>
                </c:rich>
              </c:tx>
              <c:showLegendKey val="0"/>
              <c:showVal val="1"/>
              <c:showCatName val="0"/>
              <c:showSerName val="0"/>
              <c:showPercent val="0"/>
              <c:showBubbleSize val="0"/>
            </c:dLbl>
            <c:dLbl>
              <c:idx val="2"/>
              <c:tx>
                <c:rich>
                  <a:bodyPr/>
                  <a:lstStyle/>
                  <a:p>
                    <a:r>
                      <a:rPr>
                        <a:solidFill>
                          <a:srgbClr val="FFFFFF"/>
                        </a:solidFill>
                      </a:rPr>
                      <a:t>5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99.591989</c:v>
                </c:pt>
                <c:pt idx="1">
                  <c:v>92.654814</c:v>
                </c:pt>
                <c:pt idx="2">
                  <c:v>56.2604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56.4</a:t>
                    </a:r>
                  </a:p>
                </c:rich>
              </c:tx>
              <c:showLegendKey val="0"/>
              <c:showVal val="1"/>
              <c:showCatName val="0"/>
              <c:showSerName val="0"/>
              <c:showPercent val="0"/>
              <c:showBubbleSize val="0"/>
            </c:dLbl>
            <c:dLbl>
              <c:idx val="1"/>
              <c:tx>
                <c:rich>
                  <a:bodyPr/>
                  <a:lstStyle/>
                  <a:p>
                    <a:r>
                      <a:rPr>
                        <a:solidFill>
                          <a:srgbClr val="FFFFFF"/>
                        </a:solidFill>
                      </a:rPr>
                      <a:t>62.5</a:t>
                    </a:r>
                  </a:p>
                </c:rich>
              </c:tx>
              <c:showLegendKey val="0"/>
              <c:showVal val="1"/>
              <c:showCatName val="0"/>
              <c:showSerName val="0"/>
              <c:showPercent val="0"/>
              <c:showBubbleSize val="0"/>
            </c:dLbl>
            <c:dLbl>
              <c:idx val="2"/>
              <c:tx>
                <c:rich>
                  <a:bodyPr/>
                  <a:lstStyle/>
                  <a:p>
                    <a:r>
                      <a:rPr>
                        <a:solidFill>
                          <a:srgbClr val="FFFFFF"/>
                        </a:solidFill>
                      </a:rPr>
                      <a:t>4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6.373794</c:v>
                </c:pt>
                <c:pt idx="1">
                  <c:v>62.468341</c:v>
                </c:pt>
                <c:pt idx="2">
                  <c:v>43.8473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58.0</a:t>
                    </a:r>
                  </a:p>
                </c:rich>
              </c:tx>
              <c:showLegendKey val="0"/>
              <c:showVal val="1"/>
              <c:showCatName val="0"/>
              <c:showSerName val="0"/>
              <c:showPercent val="0"/>
              <c:showBubbleSize val="0"/>
            </c:dLbl>
            <c:dLbl>
              <c:idx val="1"/>
              <c:tx>
                <c:rich>
                  <a:bodyPr/>
                  <a:lstStyle/>
                  <a:p>
                    <a:r>
                      <a:rPr>
                        <a:solidFill>
                          <a:srgbClr val="FFFFFF"/>
                        </a:solidFill>
                      </a:rPr>
                      <a:t>55.6</a:t>
                    </a:r>
                  </a:p>
                </c:rich>
              </c:tx>
              <c:showLegendKey val="0"/>
              <c:showVal val="1"/>
              <c:showCatName val="0"/>
              <c:showSerName val="0"/>
              <c:showPercent val="0"/>
              <c:showBubbleSize val="0"/>
            </c:dLbl>
            <c:dLbl>
              <c:idx val="2"/>
              <c:tx>
                <c:rich>
                  <a:bodyPr/>
                  <a:lstStyle/>
                  <a:p>
                    <a:r>
                      <a:rPr>
                        <a:solidFill>
                          <a:srgbClr val="FFFFFF"/>
                        </a:solidFill>
                      </a:rPr>
                      <a:t>3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7.965401</c:v>
                </c:pt>
                <c:pt idx="1">
                  <c:v>55.638587</c:v>
                </c:pt>
                <c:pt idx="2">
                  <c:v>31.53925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27.8</a:t>
                    </a:r>
                  </a:p>
                </c:rich>
              </c:tx>
              <c:showLegendKey val="0"/>
              <c:showVal val="1"/>
              <c:showCatName val="0"/>
              <c:showSerName val="0"/>
              <c:showPercent val="0"/>
              <c:showBubbleSize val="0"/>
            </c:dLbl>
            <c:dLbl>
              <c:idx val="1"/>
              <c:tx>
                <c:rich>
                  <a:bodyPr/>
                  <a:lstStyle/>
                  <a:p>
                    <a:r>
                      <a:rPr>
                        <a:solidFill>
                          <a:srgbClr val="FFFFFF"/>
                        </a:solidFill>
                      </a:rPr>
                      <a:t>53.6</a:t>
                    </a:r>
                  </a:p>
                </c:rich>
              </c:tx>
              <c:showLegendKey val="0"/>
              <c:showVal val="1"/>
              <c:showCatName val="0"/>
              <c:showSerName val="0"/>
              <c:showPercent val="0"/>
              <c:showBubbleSize val="0"/>
            </c:dLbl>
            <c:dLbl>
              <c:idx val="2"/>
              <c:tx>
                <c:rich>
                  <a:bodyPr/>
                  <a:lstStyle/>
                  <a:p>
                    <a:r>
                      <a:rPr>
                        <a:solidFill>
                          <a:srgbClr val="FFFFFF"/>
                        </a:solidFill>
                      </a:rPr>
                      <a:t>4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7.824811</c:v>
                </c:pt>
                <c:pt idx="1">
                  <c:v>53.573916</c:v>
                </c:pt>
                <c:pt idx="2">
                  <c:v>46.0795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35.9</a:t>
                    </a:r>
                  </a:p>
                </c:rich>
              </c:tx>
              <c:showLegendKey val="0"/>
              <c:showVal val="1"/>
              <c:showCatName val="0"/>
              <c:showSerName val="0"/>
              <c:showPercent val="0"/>
              <c:showBubbleSize val="0"/>
            </c:dLbl>
            <c:dLbl>
              <c:idx val="1"/>
              <c:tx>
                <c:rich>
                  <a:bodyPr/>
                  <a:lstStyle/>
                  <a:p>
                    <a:r>
                      <a:rPr>
                        <a:solidFill>
                          <a:srgbClr val="FFFFFF"/>
                        </a:solidFill>
                      </a:rPr>
                      <a:t>30.2</a:t>
                    </a:r>
                  </a:p>
                </c:rich>
              </c:tx>
              <c:showLegendKey val="0"/>
              <c:showVal val="1"/>
              <c:showCatName val="0"/>
              <c:showSerName val="0"/>
              <c:showPercent val="0"/>
              <c:showBubbleSize val="0"/>
            </c:dLbl>
            <c:dLbl>
              <c:idx val="2"/>
              <c:tx>
                <c:rich>
                  <a:bodyPr/>
                  <a:lstStyle/>
                  <a:p>
                    <a:r>
                      <a:rPr>
                        <a:solidFill>
                          <a:srgbClr val="FFFFFF"/>
                        </a:solidFill>
                      </a:rPr>
                      <a:t>1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5.87362</c:v>
                </c:pt>
                <c:pt idx="1">
                  <c:v>30.23155</c:v>
                </c:pt>
                <c:pt idx="2">
                  <c:v>18.1860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14.5</a:t>
                    </a:r>
                  </a:p>
                </c:rich>
              </c:tx>
              <c:showLegendKey val="0"/>
              <c:showVal val="1"/>
              <c:showCatName val="0"/>
              <c:showSerName val="0"/>
              <c:showPercent val="0"/>
              <c:showBubbleSize val="0"/>
            </c:dLbl>
            <c:dLbl>
              <c:idx val="1"/>
              <c:tx>
                <c:rich>
                  <a:bodyPr/>
                  <a:lstStyle/>
                  <a:p>
                    <a:r>
                      <a:rPr>
                        <a:solidFill>
                          <a:srgbClr val="FFFFFF"/>
                        </a:solidFill>
                      </a:rPr>
                      <a:t>14.4</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4.547038</c:v>
                </c:pt>
                <c:pt idx="1">
                  <c:v>14.446998</c:v>
                </c:pt>
                <c:pt idx="2">
                  <c:v>10.08185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10.8</a:t>
                    </a:r>
                  </a:p>
                </c:rich>
              </c:tx>
              <c:showLegendKey val="0"/>
              <c:showVal val="1"/>
              <c:showCatName val="0"/>
              <c:showSerName val="0"/>
              <c:showPercent val="0"/>
              <c:showBubbleSize val="0"/>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827433</c:v>
                </c:pt>
                <c:pt idx="1">
                  <c:v>9.346246</c:v>
                </c:pt>
                <c:pt idx="2">
                  <c:v>5.39457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291964</c:v>
                </c:pt>
                <c:pt idx="1">
                  <c:v>0.68111</c:v>
                </c:pt>
                <c:pt idx="2">
                  <c:v>0.1096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5.4</a:t>
                    </a:r>
                  </a:p>
                </c:rich>
              </c:tx>
              <c:showLegendKey val="0"/>
              <c:showVal val="1"/>
              <c:showCatName val="0"/>
              <c:showSerName val="0"/>
              <c:showPercent val="0"/>
              <c:showBubbleSize val="0"/>
            </c:dLbl>
            <c:dLbl>
              <c:idx val="1"/>
              <c:tx>
                <c:rich>
                  <a:bodyPr/>
                  <a:lstStyle/>
                  <a:p>
                    <a:r>
                      <a:rPr>
                        <a:solidFill>
                          <a:srgbClr val="FFFFFF"/>
                        </a:solidFill>
                      </a:rPr>
                      <a:t>24.3</a:t>
                    </a:r>
                  </a:p>
                </c:rich>
              </c:tx>
              <c:showLegendKey val="0"/>
              <c:showVal val="1"/>
              <c:showCatName val="0"/>
              <c:showSerName val="0"/>
              <c:showPercent val="0"/>
              <c:showBubbleSize val="0"/>
            </c:dLbl>
            <c:dLbl>
              <c:idx val="2"/>
              <c:tx>
                <c:rich>
                  <a:bodyPr/>
                  <a:lstStyle/>
                  <a:p>
                    <a:r>
                      <a:rPr>
                        <a:solidFill>
                          <a:srgbClr val="FFFFFF"/>
                        </a:solidFill>
                      </a:rPr>
                      <a:t>1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5.417406</c:v>
                </c:pt>
                <c:pt idx="1">
                  <c:v>24.336301</c:v>
                </c:pt>
                <c:pt idx="2">
                  <c:v>17.64655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578</c:v>
                </c:pt>
                <c:pt idx="1">
                  <c:v>0.837311</c:v>
                </c:pt>
                <c:pt idx="2">
                  <c:v>0.4457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8893</c:v>
                </c:pt>
                <c:pt idx="1">
                  <c:v>0.056459</c:v>
                </c:pt>
                <c:pt idx="2">
                  <c:v>0.00123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07784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37312</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62824</c:v>
                </c:pt>
                <c:pt idx="1">
                  <c:v>2.340615</c:v>
                </c:pt>
                <c:pt idx="2">
                  <c:v>1.2658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16898</c:v>
                </c:pt>
                <c:pt idx="1">
                  <c:v>0.190077</c:v>
                </c:pt>
                <c:pt idx="2">
                  <c:v>0.004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32412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8925</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6</a:t>
                    </a:r>
                  </a:p>
                </c:rich>
              </c:tx>
              <c:showLegendKey val="0"/>
              <c:showVal val="1"/>
              <c:showCatName val="0"/>
              <c:showSerName val="0"/>
              <c:showPercent val="0"/>
              <c:showBubbleSize val="0"/>
            </c:dLbl>
            <c:dLbl>
              <c:idx val="2"/>
              <c:tx>
                <c:rich>
                  <a:bodyPr/>
                  <a:lstStyle/>
                  <a:p>
                    <a:r>
                      <a:rPr>
                        <a:solidFill>
                          <a:srgbClr val="FFFFFF"/>
                        </a:solidFill>
                      </a:rPr>
                      <a:t>2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3.409633</c:v>
                </c:pt>
                <c:pt idx="1">
                  <c:v>33.572372</c:v>
                </c:pt>
                <c:pt idx="2">
                  <c:v>23.8886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0</a:t>
                    </a:r>
                  </a:p>
                </c:rich>
              </c:tx>
              <c:showLegendKey val="0"/>
              <c:showVal val="1"/>
              <c:showCatName val="0"/>
              <c:showSerName val="0"/>
              <c:showPercent val="0"/>
              <c:showBubbleSize val="0"/>
            </c:dLbl>
            <c:dLbl>
              <c:idx val="2"/>
              <c:tx>
                <c:rich>
                  <a:bodyPr/>
                  <a:lstStyle/>
                  <a:p>
                    <a:r>
                      <a:rPr>
                        <a:solidFill>
                          <a:srgbClr val="FFFFFF"/>
                        </a:solidFill>
                      </a:rPr>
                      <a:t>1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0.377315</c:v>
                </c:pt>
                <c:pt idx="1">
                  <c:v>25.957582</c:v>
                </c:pt>
                <c:pt idx="2">
                  <c:v>15.9102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1.551528</c:v>
                </c:pt>
                <c:pt idx="1">
                  <c:v>36.817335</c:v>
                </c:pt>
                <c:pt idx="2">
                  <c:v>25.0091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3</a:t>
                    </a:r>
                  </a:p>
                </c:rich>
              </c:tx>
              <c:showLegendKey val="0"/>
              <c:showVal val="1"/>
              <c:showCatName val="0"/>
              <c:showSerName val="0"/>
              <c:showPercent val="0"/>
              <c:showBubbleSize val="0"/>
            </c:dLbl>
            <c:dLbl>
              <c:idx val="2"/>
              <c:tx>
                <c:rich>
                  <a:bodyPr/>
                  <a:lstStyle/>
                  <a:p>
                    <a:r>
                      <a:rPr>
                        <a:solidFill>
                          <a:srgbClr val="FFFFFF"/>
                        </a:solidFill>
                      </a:rPr>
                      <a:t>3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1.690469</c:v>
                </c:pt>
                <c:pt idx="1">
                  <c:v>52.25431</c:v>
                </c:pt>
                <c:pt idx="2">
                  <c:v>39.33280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722501</c:v>
                </c:pt>
                <c:pt idx="1">
                  <c:v>4.148224</c:v>
                </c:pt>
                <c:pt idx="2">
                  <c:v>1.50684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2363</c:v>
                </c:pt>
                <c:pt idx="1">
                  <c:v>1.530535</c:v>
                </c:pt>
                <c:pt idx="2">
                  <c:v>0.53487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489423</c:v>
                </c:pt>
                <c:pt idx="1">
                  <c:v>5.133339</c:v>
                </c:pt>
                <c:pt idx="2">
                  <c:v>3.23344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5e-06</c:v>
                </c:pt>
                <c:pt idx="1">
                  <c:v>0.427422</c:v>
                </c:pt>
                <c:pt idx="2">
                  <c:v>0.38232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164477</c:v>
                </c:pt>
                <c:pt idx="1">
                  <c:v>0.99458</c:v>
                </c:pt>
                <c:pt idx="2">
                  <c:v>0.52233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8</a:t>
                    </a:r>
                  </a:p>
                </c:rich>
              </c:tx>
              <c:showLegendKey val="0"/>
              <c:showVal val="1"/>
              <c:showCatName val="0"/>
              <c:showSerName val="0"/>
              <c:showPercent val="0"/>
              <c:showBubbleSize val="0"/>
            </c:dLbl>
            <c:dLbl>
              <c:idx val="2"/>
              <c:tx>
                <c:rich>
                  <a:bodyPr/>
                  <a:lstStyle/>
                  <a:p>
                    <a:r>
                      <a:rPr>
                        <a:solidFill>
                          <a:srgbClr val="FFFFFF"/>
                        </a:solidFill>
                      </a:rPr>
                      <a:t>27.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0.711325</c:v>
                </c:pt>
                <c:pt idx="1">
                  <c:v>38.848737</c:v>
                </c:pt>
                <c:pt idx="2">
                  <c:v>27.1224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8.7</a:t>
                    </a:r>
                  </a:p>
                </c:rich>
              </c:tx>
              <c:showLegendKey val="0"/>
              <c:showVal val="1"/>
              <c:showCatName val="0"/>
              <c:showSerName val="0"/>
              <c:showPercent val="0"/>
              <c:showBubbleSize val="0"/>
            </c:dLbl>
            <c:dLbl>
              <c:idx val="2"/>
              <c:tx>
                <c:rich>
                  <a:bodyPr/>
                  <a:lstStyle/>
                  <a:p>
                    <a:r>
                      <a:rPr>
                        <a:solidFill>
                          <a:srgbClr val="FFFFFF"/>
                        </a:solidFill>
                      </a:rPr>
                      <a:t>5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2.086987</c:v>
                </c:pt>
                <c:pt idx="1">
                  <c:v>78.689154</c:v>
                </c:pt>
                <c:pt idx="2">
                  <c:v>55.5334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2</a:t>
                    </a:r>
                  </a:p>
                </c:rich>
              </c:tx>
              <c:showLegendKey val="0"/>
              <c:showVal val="1"/>
              <c:showCatName val="0"/>
              <c:showSerName val="0"/>
              <c:showPercent val="0"/>
              <c:showBubbleSize val="0"/>
            </c:dLbl>
            <c:dLbl>
              <c:idx val="2"/>
              <c:tx>
                <c:rich>
                  <a:bodyPr/>
                  <a:lstStyle/>
                  <a:p>
                    <a:r>
                      <a:rPr>
                        <a:solidFill>
                          <a:srgbClr val="FFFFFF"/>
                        </a:solidFill>
                      </a:rPr>
                      <a:t>2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1.883442</c:v>
                </c:pt>
                <c:pt idx="1">
                  <c:v>37.190973</c:v>
                </c:pt>
                <c:pt idx="2">
                  <c:v>25.24049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247008</c:v>
                </c:pt>
                <c:pt idx="1">
                  <c:v>6.106511</c:v>
                </c:pt>
                <c:pt idx="2">
                  <c:v>2.42427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219</c:v>
                </c:pt>
                <c:pt idx="1">
                  <c:v>0.000324</c:v>
                </c:pt>
                <c:pt idx="2">
                  <c:v>4.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58.9</a:t>
                    </a:r>
                  </a:p>
                </c:rich>
              </c:tx>
              <c:showLegendKey val="0"/>
              <c:showVal val="1"/>
              <c:showCatName val="0"/>
              <c:showSerName val="0"/>
              <c:showPercent val="0"/>
              <c:showBubbleSize val="0"/>
            </c:dLbl>
            <c:dLbl>
              <c:idx val="1"/>
              <c:tx>
                <c:rich>
                  <a:bodyPr/>
                  <a:lstStyle/>
                  <a:p>
                    <a:r>
                      <a:rPr>
                        <a:solidFill>
                          <a:srgbClr val="FFFFFF"/>
                        </a:solidFill>
                      </a:rPr>
                      <a:t>58.9</a:t>
                    </a:r>
                  </a:p>
                </c:rich>
              </c:tx>
              <c:showLegendKey val="0"/>
              <c:showVal val="1"/>
              <c:showCatName val="0"/>
              <c:showSerName val="0"/>
              <c:showPercent val="0"/>
              <c:showBubbleSize val="0"/>
            </c:dLbl>
            <c:dLbl>
              <c:idx val="2"/>
              <c:tx>
                <c:rich>
                  <a:bodyPr/>
                  <a:lstStyle/>
                  <a:p>
                    <a:r>
                      <a:rPr>
                        <a:solidFill>
                          <a:srgbClr val="FFFFFF"/>
                        </a:solidFill>
                      </a:rPr>
                      <a:t>4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8.89883</c:v>
                </c:pt>
                <c:pt idx="1">
                  <c:v>58.855413</c:v>
                </c:pt>
                <c:pt idx="2">
                  <c:v>43.1121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46.6</a:t>
                    </a:r>
                  </a:p>
                </c:rich>
              </c:tx>
              <c:showLegendKey val="0"/>
              <c:showVal val="1"/>
              <c:showCatName val="0"/>
              <c:showSerName val="0"/>
              <c:showPercent val="0"/>
              <c:showBubbleSize val="0"/>
            </c:dLbl>
            <c:dLbl>
              <c:idx val="1"/>
              <c:tx>
                <c:rich>
                  <a:bodyPr/>
                  <a:lstStyle/>
                  <a:p>
                    <a:r>
                      <a:rPr>
                        <a:solidFill>
                          <a:srgbClr val="FFFFFF"/>
                        </a:solidFill>
                      </a:rPr>
                      <a:t>44.6</a:t>
                    </a:r>
                  </a:p>
                </c:rich>
              </c:tx>
              <c:showLegendKey val="0"/>
              <c:showVal val="1"/>
              <c:showCatName val="0"/>
              <c:showSerName val="0"/>
              <c:showPercent val="0"/>
              <c:showBubbleSize val="0"/>
            </c:dLbl>
            <c:dLbl>
              <c:idx val="2"/>
              <c:tx>
                <c:rich>
                  <a:bodyPr/>
                  <a:lstStyle/>
                  <a:p>
                    <a:r>
                      <a:rPr>
                        <a:solidFill>
                          <a:srgbClr val="FFFFFF"/>
                        </a:solidFill>
                      </a:rPr>
                      <a:t>2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6.5651</c:v>
                </c:pt>
                <c:pt idx="1">
                  <c:v>44.558179</c:v>
                </c:pt>
                <c:pt idx="2">
                  <c:v>27.2137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31.9</a:t>
                    </a:r>
                  </a:p>
                </c:rich>
              </c:tx>
              <c:showLegendKey val="0"/>
              <c:showVal val="1"/>
              <c:showCatName val="0"/>
              <c:showSerName val="0"/>
              <c:showPercent val="0"/>
              <c:showBubbleSize val="0"/>
            </c:dLbl>
            <c:dLbl>
              <c:idx val="1"/>
              <c:tx>
                <c:rich>
                  <a:bodyPr/>
                  <a:lstStyle/>
                  <a:p>
                    <a:r>
                      <a:rPr>
                        <a:solidFill>
                          <a:srgbClr val="FFFFFF"/>
                        </a:solidFill>
                      </a:rPr>
                      <a:t>32.4</a:t>
                    </a:r>
                  </a:p>
                </c:rich>
              </c:tx>
              <c:showLegendKey val="0"/>
              <c:showVal val="1"/>
              <c:showCatName val="0"/>
              <c:showSerName val="0"/>
              <c:showPercent val="0"/>
              <c:showBubbleSize val="0"/>
            </c:dLbl>
            <c:dLbl>
              <c:idx val="2"/>
              <c:tx>
                <c:rich>
                  <a:bodyPr/>
                  <a:lstStyle/>
                  <a:p>
                    <a:r>
                      <a:rPr>
                        <a:solidFill>
                          <a:srgbClr val="FFFFFF"/>
                        </a:solidFill>
                      </a:rPr>
                      <a:t>2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1.899998</c:v>
                </c:pt>
                <c:pt idx="1">
                  <c:v>32.401791</c:v>
                </c:pt>
                <c:pt idx="2">
                  <c:v>24.27106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ilky Touch</c:v>
                </c:pt>
              </c:strCache>
            </c:strRef>
          </c:tx>
          <c:spPr>
            <a:solidFill>
              <a:srgbClr val="9B9898"/>
            </a:solidFill>
            <a:ln>
              <a:solidFill>
                <a:schemeClr val="bg1"/>
              </a:solidFill>
            </a:ln>
            <a:effectLst/>
          </c:spPr>
          <c:invertIfNegative val="0"/>
          <c:dLbls>
            <c:dLbl>
              <c:idx val="0"/>
              <c:tx>
                <c:rich>
                  <a:bodyPr/>
                  <a:lstStyle/>
                  <a:p>
                    <a:r>
                      <a:rPr>
                        <a:solidFill>
                          <a:srgbClr val="FFFFFF"/>
                        </a:solidFill>
                      </a:rPr>
                      <a:t>15.4</a:t>
                    </a:r>
                  </a:p>
                </c:rich>
              </c:tx>
              <c:showLegendKey val="0"/>
              <c:showVal val="1"/>
              <c:showCatName val="0"/>
              <c:showSerName val="0"/>
              <c:showPercent val="0"/>
              <c:showBubbleSize val="0"/>
            </c:dLbl>
            <c:dLbl>
              <c:idx val="1"/>
              <c:tx>
                <c:rich>
                  <a:bodyPr/>
                  <a:lstStyle/>
                  <a:p>
                    <a:r>
                      <a:rPr>
                        <a:solidFill>
                          <a:srgbClr val="FFFFFF"/>
                        </a:solidFill>
                      </a:rPr>
                      <a:t>15.1</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5.375491</c:v>
                </c:pt>
                <c:pt idx="1">
                  <c:v>15.118293</c:v>
                </c:pt>
                <c:pt idx="2">
                  <c:v>11.0774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842659</c:v>
                </c:pt>
                <c:pt idx="1">
                  <c:v>6.006705</c:v>
                </c:pt>
                <c:pt idx="2">
                  <c:v>2.20333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117931</c:v>
                </c:pt>
                <c:pt idx="1">
                  <c:v>5.201997</c:v>
                </c:pt>
                <c:pt idx="2">
                  <c:v>1.76271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Daisy</c:v>
                </c:pt>
              </c:strCache>
            </c:strRef>
          </c:tx>
          <c:spPr>
            <a:solidFill>
              <a:srgbClr val="7F7F7F"/>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4.472162</c:v>
                </c:pt>
                <c:pt idx="1">
                  <c:v>4.276174</c:v>
                </c:pt>
                <c:pt idx="2">
                  <c:v>2.69425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8e-05</c:v>
                </c:pt>
                <c:pt idx="1">
                  <c:v>1.606432</c:v>
                </c:pt>
                <c:pt idx="2">
                  <c:v>1.27097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703844</c:v>
                </c:pt>
                <c:pt idx="1">
                  <c:v>2.118219</c:v>
                </c:pt>
                <c:pt idx="2">
                  <c:v>0.9341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6</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168522</c:v>
                </c:pt>
                <c:pt idx="1">
                  <c:v>14.558979</c:v>
                </c:pt>
                <c:pt idx="2">
                  <c:v>10.534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8</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146606</c:v>
                </c:pt>
                <c:pt idx="1">
                  <c:v>6.750522</c:v>
                </c:pt>
                <c:pt idx="2">
                  <c:v>3.9631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7.720263</c:v>
                </c:pt>
                <c:pt idx="1">
                  <c:v>8.719634</c:v>
                </c:pt>
                <c:pt idx="2">
                  <c:v>6.35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9</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8.526399</c:v>
                </c:pt>
                <c:pt idx="1">
                  <c:v>7.896873</c:v>
                </c:pt>
                <c:pt idx="2">
                  <c:v>5.27179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072087</c:v>
                </c:pt>
                <c:pt idx="1">
                  <c:v>4.42436</c:v>
                </c:pt>
                <c:pt idx="2">
                  <c:v>2.1624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4.172085</c:v>
                </c:pt>
                <c:pt idx="1">
                  <c:v>4.256461</c:v>
                </c:pt>
                <c:pt idx="2">
                  <c:v>3.09030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6346</c:v>
                </c:pt>
                <c:pt idx="1">
                  <c:v>0.896811</c:v>
                </c:pt>
                <c:pt idx="2">
                  <c:v>1.26870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2.36426</c:v>
                </c:pt>
                <c:pt idx="1">
                  <c:v>2.270926</c:v>
                </c:pt>
                <c:pt idx="2">
                  <c:v>0.03711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76859</c:v>
                </c:pt>
                <c:pt idx="1">
                  <c:v>0.010702</c:v>
                </c:pt>
                <c:pt idx="2">
                  <c:v>0.00198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402</c:v>
                </c:pt>
                <c:pt idx="1">
                  <c:v>0.83045</c:v>
                </c:pt>
                <c:pt idx="2">
                  <c:v>0.50465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67.2</a:t>
                    </a:r>
                  </a:p>
                </c:rich>
              </c:tx>
              <c:showLegendKey val="0"/>
              <c:showVal val="1"/>
              <c:showCatName val="0"/>
              <c:showSerName val="0"/>
              <c:showPercent val="0"/>
              <c:showBubbleSize val="0"/>
            </c:dLbl>
            <c:dLbl>
              <c:idx val="1"/>
              <c:tx>
                <c:rich>
                  <a:bodyPr/>
                  <a:lstStyle/>
                  <a:p>
                    <a:r>
                      <a:rPr>
                        <a:solidFill>
                          <a:srgbClr val="FFFFFF"/>
                        </a:solidFill>
                      </a:rPr>
                      <a:t>68.8</a:t>
                    </a:r>
                  </a:p>
                </c:rich>
              </c:tx>
              <c:showLegendKey val="0"/>
              <c:showVal val="1"/>
              <c:showCatName val="0"/>
              <c:showSerName val="0"/>
              <c:showPercent val="0"/>
              <c:showBubbleSize val="0"/>
            </c:dLbl>
            <c:dLbl>
              <c:idx val="2"/>
              <c:tx>
                <c:rich>
                  <a:bodyPr/>
                  <a:lstStyle/>
                  <a:p>
                    <a:r>
                      <a:rPr>
                        <a:solidFill>
                          <a:srgbClr val="FFFFFF"/>
                        </a:solidFill>
                      </a:rPr>
                      <a:t>5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7.227578</c:v>
                </c:pt>
                <c:pt idx="1">
                  <c:v>68.785293</c:v>
                </c:pt>
                <c:pt idx="2">
                  <c:v>50.4000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31.1</a:t>
                    </a:r>
                  </a:p>
                </c:rich>
              </c:tx>
              <c:showLegendKey val="0"/>
              <c:showVal val="1"/>
              <c:showCatName val="0"/>
              <c:showSerName val="0"/>
              <c:showPercent val="0"/>
              <c:showBubbleSize val="0"/>
            </c:dLbl>
            <c:dLbl>
              <c:idx val="1"/>
              <c:tx>
                <c:rich>
                  <a:bodyPr/>
                  <a:lstStyle/>
                  <a:p>
                    <a:r>
                      <a:rPr>
                        <a:solidFill>
                          <a:srgbClr val="FFFFFF"/>
                        </a:solidFill>
                      </a:rPr>
                      <a:t>27.7</a:t>
                    </a:r>
                  </a:p>
                </c:rich>
              </c:tx>
              <c:showLegendKey val="0"/>
              <c:showVal val="1"/>
              <c:showCatName val="0"/>
              <c:showSerName val="0"/>
              <c:showPercent val="0"/>
              <c:showBubbleSize val="0"/>
            </c:dLbl>
            <c:dLbl>
              <c:idx val="2"/>
              <c:tx>
                <c:rich>
                  <a:bodyPr/>
                  <a:lstStyle/>
                  <a:p>
                    <a:r>
                      <a:rPr>
                        <a:solidFill>
                          <a:srgbClr val="FFFFFF"/>
                        </a:solidFill>
                      </a:rPr>
                      <a:t>1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1.052205</c:v>
                </c:pt>
                <c:pt idx="1">
                  <c:v>27.713669</c:v>
                </c:pt>
                <c:pt idx="2">
                  <c:v>16.3899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a:solidFill>
                          <a:srgbClr val="FFFFFF"/>
                        </a:solidFill>
                      </a:rPr>
                      <a:t>28.9</a:t>
                    </a:r>
                  </a:p>
                </c:rich>
              </c:tx>
              <c:showLegendKey val="0"/>
              <c:showVal val="1"/>
              <c:showCatName val="0"/>
              <c:showSerName val="0"/>
              <c:showPercent val="0"/>
              <c:showBubbleSize val="0"/>
            </c:dLbl>
            <c:dLbl>
              <c:idx val="1"/>
              <c:tx>
                <c:rich>
                  <a:bodyPr/>
                  <a:lstStyle/>
                  <a:p>
                    <a:r>
                      <a:rPr>
                        <a:solidFill>
                          <a:srgbClr val="FFFFFF"/>
                        </a:solidFill>
                      </a:rPr>
                      <a:t>27.2</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8.899499</c:v>
                </c:pt>
                <c:pt idx="1">
                  <c:v>27.178088</c:v>
                </c:pt>
                <c:pt idx="2">
                  <c:v>19.04193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a:solidFill>
                          <a:srgbClr val="FFFFFF"/>
                        </a:solidFill>
                      </a:rPr>
                      <a:t>22.9</a:t>
                    </a:r>
                  </a:p>
                </c:rich>
              </c:tx>
              <c:showLegendKey val="0"/>
              <c:showVal val="1"/>
              <c:showCatName val="0"/>
              <c:showSerName val="0"/>
              <c:showPercent val="0"/>
              <c:showBubbleSize val="0"/>
            </c:dLbl>
            <c:dLbl>
              <c:idx val="1"/>
              <c:tx>
                <c:rich>
                  <a:bodyPr/>
                  <a:lstStyle/>
                  <a:p>
                    <a:r>
                      <a:rPr>
                        <a:solidFill>
                          <a:srgbClr val="FFFFFF"/>
                        </a:solidFill>
                      </a:rPr>
                      <a:t>21.4</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2.933258</c:v>
                </c:pt>
                <c:pt idx="1">
                  <c:v>21.39048</c:v>
                </c:pt>
                <c:pt idx="2">
                  <c:v>14.003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a:solidFill>
                          <a:srgbClr val="FFFFFF"/>
                        </a:solidFill>
                      </a:rPr>
                      <a:t>21.3</a:t>
                    </a:r>
                  </a:p>
                </c:rich>
              </c:tx>
              <c:showLegendKey val="0"/>
              <c:showVal val="1"/>
              <c:showCatName val="0"/>
              <c:showSerName val="0"/>
              <c:showPercent val="0"/>
              <c:showBubbleSize val="0"/>
            </c:dLbl>
            <c:dLbl>
              <c:idx val="1"/>
              <c:tx>
                <c:rich>
                  <a:bodyPr/>
                  <a:lstStyle/>
                  <a:p>
                    <a:r>
                      <a:rPr>
                        <a:solidFill>
                          <a:srgbClr val="FFFFFF"/>
                        </a:solidFill>
                      </a:rPr>
                      <a:t>20.6</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1.270246</c:v>
                </c:pt>
                <c:pt idx="1">
                  <c:v>20.647435</c:v>
                </c:pt>
                <c:pt idx="2">
                  <c:v>10.7092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7.8</a:t>
                    </a:r>
                  </a:p>
                </c:rich>
              </c:tx>
              <c:showLegendKey val="0"/>
              <c:showVal val="1"/>
              <c:showCatName val="0"/>
              <c:showSerName val="0"/>
              <c:showPercent val="0"/>
              <c:showBubbleSize val="0"/>
            </c:dLbl>
            <c:dLbl>
              <c:idx val="1"/>
              <c:tx>
                <c:rich>
                  <a:bodyPr/>
                  <a:lstStyle/>
                  <a:p>
                    <a:r>
                      <a:rPr>
                        <a:solidFill>
                          <a:srgbClr val="FFFFFF"/>
                        </a:solidFill>
                      </a:rPr>
                      <a:t>8.0</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7.791787</c:v>
                </c:pt>
                <c:pt idx="1">
                  <c:v>7.97538</c:v>
                </c:pt>
                <c:pt idx="2">
                  <c:v>5.67428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27725</c:v>
                </c:pt>
                <c:pt idx="1">
                  <c:v>2.902923</c:v>
                </c:pt>
                <c:pt idx="2">
                  <c:v>3.88023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155414</c:v>
                </c:pt>
                <c:pt idx="1">
                  <c:v>3.017101</c:v>
                </c:pt>
                <c:pt idx="2">
                  <c:v>0.02685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829878</c:v>
                </c:pt>
                <c:pt idx="1">
                  <c:v>0.024581</c:v>
                </c:pt>
                <c:pt idx="2">
                  <c:v>0.00540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04725</c:v>
                </c:pt>
                <c:pt idx="1">
                  <c:v>1.435049</c:v>
                </c:pt>
                <c:pt idx="2">
                  <c:v>0.8086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7594</c:v>
                </c:pt>
                <c:pt idx="1">
                  <c:v>4.237214</c:v>
                </c:pt>
                <c:pt idx="2">
                  <c:v>3.8136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011194</c:v>
                </c:pt>
                <c:pt idx="1">
                  <c:v>4.091849</c:v>
                </c:pt>
                <c:pt idx="2">
                  <c:v>2.6462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273444</c:v>
                </c:pt>
                <c:pt idx="1">
                  <c:v>5.540203</c:v>
                </c:pt>
                <c:pt idx="2">
                  <c:v>4.29491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156169</c:v>
                </c:pt>
                <c:pt idx="1">
                  <c:v>0.987057</c:v>
                </c:pt>
                <c:pt idx="2">
                  <c:v>0.76049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19604</c:v>
                </c:pt>
                <c:pt idx="1">
                  <c:v>0.238848</c:v>
                </c:pt>
                <c:pt idx="2">
                  <c:v>0.30482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19698</c:v>
                </c:pt>
                <c:pt idx="2">
                  <c:v>0.03481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37</c:v>
                </c:pt>
                <c:pt idx="1">
                  <c:v>0.016644</c:v>
                </c:pt>
                <c:pt idx="2">
                  <c:v>0.01243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26748</c:v>
                </c:pt>
                <c:pt idx="1">
                  <c:v>0.163222</c:v>
                </c:pt>
                <c:pt idx="2">
                  <c:v>0.1118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7.0</a:t>
                    </a:r>
                  </a:p>
                </c:rich>
              </c:tx>
              <c:showLegendKey val="0"/>
              <c:showVal val="1"/>
              <c:showCatName val="0"/>
              <c:showSerName val="0"/>
              <c:showPercent val="0"/>
              <c:showBubbleSize val="0"/>
            </c:dLbl>
            <c:dLbl>
              <c:idx val="1"/>
              <c:tx>
                <c:rich>
                  <a:bodyPr/>
                  <a:lstStyle/>
                  <a:p>
                    <a:r>
                      <a:rPr>
                        <a:solidFill>
                          <a:srgbClr val="FFFFFF"/>
                        </a:solidFill>
                      </a:rPr>
                      <a:t>8.0</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043036</c:v>
                </c:pt>
                <c:pt idx="1">
                  <c:v>7.968567</c:v>
                </c:pt>
                <c:pt idx="2">
                  <c:v>7.1917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4.8</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773555</c:v>
                </c:pt>
                <c:pt idx="1">
                  <c:v>4.746899</c:v>
                </c:pt>
                <c:pt idx="2">
                  <c:v>3.1971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89889</c:v>
                </c:pt>
                <c:pt idx="1">
                  <c:v>1.380689</c:v>
                </c:pt>
                <c:pt idx="2">
                  <c:v>1.09501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914905</c:v>
                </c:pt>
                <c:pt idx="1">
                  <c:v>0.827763</c:v>
                </c:pt>
                <c:pt idx="2">
                  <c:v>0.64625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671992</c:v>
                </c:pt>
                <c:pt idx="1">
                  <c:v>0.751469</c:v>
                </c:pt>
                <c:pt idx="2">
                  <c:v>0.8296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67886</c:v>
                </c:pt>
                <c:pt idx="2">
                  <c:v>0.12434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1846</c:v>
                </c:pt>
                <c:pt idx="1">
                  <c:v>0.023851</c:v>
                </c:pt>
                <c:pt idx="2">
                  <c:v>0.0194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85985</c:v>
                </c:pt>
                <c:pt idx="1">
                  <c:v>0.169501</c:v>
                </c:pt>
                <c:pt idx="2">
                  <c:v>0.1620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53.0</a:t>
                    </a:r>
                  </a:p>
                </c:rich>
              </c:tx>
              <c:showLegendKey val="0"/>
              <c:showVal val="1"/>
              <c:showCatName val="0"/>
              <c:showSerName val="0"/>
              <c:showPercent val="0"/>
              <c:showBubbleSize val="0"/>
            </c:dLbl>
            <c:dLbl>
              <c:idx val="1"/>
              <c:tx>
                <c:rich>
                  <a:bodyPr/>
                  <a:lstStyle/>
                  <a:p>
                    <a:r>
                      <a:rPr>
                        <a:solidFill>
                          <a:srgbClr val="FFFFFF"/>
                        </a:solidFill>
                      </a:rPr>
                      <a:t>57.9</a:t>
                    </a:r>
                  </a:p>
                </c:rich>
              </c:tx>
              <c:showLegendKey val="0"/>
              <c:showVal val="1"/>
              <c:showCatName val="0"/>
              <c:showSerName val="0"/>
              <c:showPercent val="0"/>
              <c:showBubbleSize val="0"/>
            </c:dLbl>
            <c:dLbl>
              <c:idx val="2"/>
              <c:tx>
                <c:rich>
                  <a:bodyPr/>
                  <a:lstStyle/>
                  <a:p>
                    <a:r>
                      <a:rPr>
                        <a:solidFill>
                          <a:srgbClr val="FFFFFF"/>
                        </a:solidFill>
                      </a:rPr>
                      <a:t>4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3.01219</c:v>
                </c:pt>
                <c:pt idx="1">
                  <c:v>57.946203</c:v>
                </c:pt>
                <c:pt idx="2">
                  <c:v>45.5604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24.9</a:t>
                    </a:r>
                  </a:p>
                </c:rich>
              </c:tx>
              <c:showLegendKey val="0"/>
              <c:showVal val="1"/>
              <c:showCatName val="0"/>
              <c:showSerName val="0"/>
              <c:showPercent val="0"/>
              <c:showBubbleSize val="0"/>
            </c:dLbl>
            <c:dLbl>
              <c:idx val="1"/>
              <c:tx>
                <c:rich>
                  <a:bodyPr/>
                  <a:lstStyle/>
                  <a:p>
                    <a:r>
                      <a:rPr>
                        <a:solidFill>
                          <a:srgbClr val="FFFFFF"/>
                        </a:solidFill>
                      </a:rPr>
                      <a:t>28.1</a:t>
                    </a:r>
                  </a:p>
                </c:rich>
              </c:tx>
              <c:showLegendKey val="0"/>
              <c:showVal val="1"/>
              <c:showCatName val="0"/>
              <c:showSerName val="0"/>
              <c:showPercent val="0"/>
              <c:showBubbleSize val="0"/>
            </c:dLbl>
            <c:dLbl>
              <c:idx val="2"/>
              <c:tx>
                <c:rich>
                  <a:bodyPr/>
                  <a:lstStyle/>
                  <a:p>
                    <a:r>
                      <a:rPr>
                        <a:solidFill>
                          <a:srgbClr val="FFFFFF"/>
                        </a:solidFill>
                      </a:rPr>
                      <a:t>2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4.921378</c:v>
                </c:pt>
                <c:pt idx="1">
                  <c:v>28.050308</c:v>
                </c:pt>
                <c:pt idx="2">
                  <c:v>22.4887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8.741824</c:v>
                </c:pt>
                <c:pt idx="1">
                  <c:v>9.416194</c:v>
                </c:pt>
                <c:pt idx="2">
                  <c:v>6.85272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6.3</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640022</c:v>
                </c:pt>
                <c:pt idx="1">
                  <c:v>6.308301</c:v>
                </c:pt>
                <c:pt idx="2">
                  <c:v>4.4367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523105</c:v>
                </c:pt>
                <c:pt idx="1">
                  <c:v>3.840207</c:v>
                </c:pt>
                <c:pt idx="2">
                  <c:v>4.15593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055596</c:v>
                </c:pt>
                <c:pt idx="1">
                  <c:v>2.180047</c:v>
                </c:pt>
                <c:pt idx="2">
                  <c:v>1.9168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65.8</a:t>
                    </a:r>
                  </a:p>
                </c:rich>
              </c:tx>
              <c:showLegendKey val="0"/>
              <c:showVal val="1"/>
              <c:showCatName val="0"/>
              <c:showSerName val="0"/>
              <c:showPercent val="0"/>
              <c:showBubbleSize val="0"/>
            </c:dLbl>
            <c:dLbl>
              <c:idx val="1"/>
              <c:tx>
                <c:rich>
                  <a:bodyPr/>
                  <a:lstStyle/>
                  <a:p>
                    <a:r>
                      <a:rPr>
                        <a:solidFill>
                          <a:srgbClr val="FFFFFF"/>
                        </a:solidFill>
                      </a:rPr>
                      <a:t>63.2</a:t>
                    </a:r>
                  </a:p>
                </c:rich>
              </c:tx>
              <c:showLegendKey val="0"/>
              <c:showVal val="1"/>
              <c:showCatName val="0"/>
              <c:showSerName val="0"/>
              <c:showPercent val="0"/>
              <c:showBubbleSize val="0"/>
            </c:dLbl>
            <c:dLbl>
              <c:idx val="2"/>
              <c:tx>
                <c:rich>
                  <a:bodyPr/>
                  <a:lstStyle/>
                  <a:p>
                    <a:r>
                      <a:rPr>
                        <a:solidFill>
                          <a:srgbClr val="FFFFFF"/>
                        </a:solidFill>
                      </a:rPr>
                      <a:t>4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5.761696</c:v>
                </c:pt>
                <c:pt idx="1">
                  <c:v>63.243211</c:v>
                </c:pt>
                <c:pt idx="2">
                  <c:v>45.8067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61.9</a:t>
                    </a:r>
                  </a:p>
                </c:rich>
              </c:tx>
              <c:showLegendKey val="0"/>
              <c:showVal val="1"/>
              <c:showCatName val="0"/>
              <c:showSerName val="0"/>
              <c:showPercent val="0"/>
              <c:showBubbleSize val="0"/>
            </c:dLbl>
            <c:dLbl>
              <c:idx val="1"/>
              <c:tx>
                <c:rich>
                  <a:bodyPr/>
                  <a:lstStyle/>
                  <a:p>
                    <a:r>
                      <a:rPr>
                        <a:solidFill>
                          <a:srgbClr val="FFFFFF"/>
                        </a:solidFill>
                      </a:rPr>
                      <a:t>61.3</a:t>
                    </a:r>
                  </a:p>
                </c:rich>
              </c:tx>
              <c:showLegendKey val="0"/>
              <c:showVal val="1"/>
              <c:showCatName val="0"/>
              <c:showSerName val="0"/>
              <c:showPercent val="0"/>
              <c:showBubbleSize val="0"/>
            </c:dLbl>
            <c:dLbl>
              <c:idx val="2"/>
              <c:tx>
                <c:rich>
                  <a:bodyPr/>
                  <a:lstStyle/>
                  <a:p>
                    <a:r>
                      <a:rPr>
                        <a:solidFill>
                          <a:srgbClr val="FFFFFF"/>
                        </a:solidFill>
                      </a:rPr>
                      <a:t>3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1.947173</c:v>
                </c:pt>
                <c:pt idx="1">
                  <c:v>61.328314</c:v>
                </c:pt>
                <c:pt idx="2">
                  <c:v>39.02658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32.2</a:t>
                    </a:r>
                  </a:p>
                </c:rich>
              </c:tx>
              <c:showLegendKey val="0"/>
              <c:showVal val="1"/>
              <c:showCatName val="0"/>
              <c:showSerName val="0"/>
              <c:showPercent val="0"/>
              <c:showBubbleSize val="0"/>
            </c:dLbl>
            <c:dLbl>
              <c:idx val="1"/>
              <c:tx>
                <c:rich>
                  <a:bodyPr/>
                  <a:lstStyle/>
                  <a:p>
                    <a:r>
                      <a:rPr>
                        <a:solidFill>
                          <a:srgbClr val="FFFFFF"/>
                        </a:solidFill>
                      </a:rPr>
                      <a:t>32.8</a:t>
                    </a:r>
                  </a:p>
                </c:rich>
              </c:tx>
              <c:showLegendKey val="0"/>
              <c:showVal val="1"/>
              <c:showCatName val="0"/>
              <c:showSerName val="0"/>
              <c:showPercent val="0"/>
              <c:showBubbleSize val="0"/>
            </c:dLbl>
            <c:dLbl>
              <c:idx val="2"/>
              <c:tx>
                <c:rich>
                  <a:bodyPr/>
                  <a:lstStyle/>
                  <a:p>
                    <a:r>
                      <a:rPr>
                        <a:solidFill>
                          <a:srgbClr val="FFFFFF"/>
                        </a:solidFill>
                      </a:rPr>
                      <a:t>2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2.205744</c:v>
                </c:pt>
                <c:pt idx="1">
                  <c:v>32.756048</c:v>
                </c:pt>
                <c:pt idx="2">
                  <c:v>24.46912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13.0</a:t>
                    </a:r>
                  </a:p>
                </c:rich>
              </c:tx>
              <c:showLegendKey val="0"/>
              <c:showVal val="1"/>
              <c:showCatName val="0"/>
              <c:showSerName val="0"/>
              <c:showPercent val="0"/>
              <c:showBubbleSize val="0"/>
            </c:dLbl>
            <c:dLbl>
              <c:idx val="1"/>
              <c:tx>
                <c:rich>
                  <a:bodyPr/>
                  <a:lstStyle/>
                  <a:p>
                    <a:r>
                      <a:rPr>
                        <a:solidFill>
                          <a:srgbClr val="FFFFFF"/>
                        </a:solidFill>
                      </a:rPr>
                      <a:t>12.8</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2.961282</c:v>
                </c:pt>
                <c:pt idx="1">
                  <c:v>12.815387</c:v>
                </c:pt>
                <c:pt idx="2">
                  <c:v>5.23721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138</c:v>
                </c:pt>
                <c:pt idx="1">
                  <c:v>0.000243</c:v>
                </c:pt>
                <c:pt idx="2">
                  <c:v>4.4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817463</c:v>
                </c:pt>
                <c:pt idx="1">
                  <c:v>4.977238</c:v>
                </c:pt>
                <c:pt idx="2">
                  <c:v>3.2517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004391</c:v>
                </c:pt>
                <c:pt idx="1">
                  <c:v>1.591443</c:v>
                </c:pt>
                <c:pt idx="2">
                  <c:v>0.91843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75904</c:v>
                </c:pt>
                <c:pt idx="1">
                  <c:v>1.242076</c:v>
                </c:pt>
                <c:pt idx="2">
                  <c:v>0.9322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62501</c:v>
                </c:pt>
                <c:pt idx="1">
                  <c:v>0.806641</c:v>
                </c:pt>
                <c:pt idx="2">
                  <c:v>0.52300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6753</c:v>
                </c:pt>
                <c:pt idx="1">
                  <c:v>0.887027</c:v>
                </c:pt>
                <c:pt idx="2">
                  <c:v>0.94065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13227</c:v>
                </c:pt>
                <c:pt idx="1">
                  <c:v>0.582448</c:v>
                </c:pt>
                <c:pt idx="2">
                  <c:v>0.41848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584189</c:v>
                </c:pt>
                <c:pt idx="1">
                  <c:v>0.067193</c:v>
                </c:pt>
                <c:pt idx="2">
                  <c:v>7e-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18562</c:v>
                </c:pt>
                <c:pt idx="1">
                  <c:v>0.067169</c:v>
                </c:pt>
                <c:pt idx="2">
                  <c:v>0.00338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3057</c:v>
                </c:pt>
                <c:pt idx="1">
                  <c:v>0.065977</c:v>
                </c:pt>
                <c:pt idx="2">
                  <c:v>0.0352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0.4</a:t>
                    </a:r>
                  </a:p>
                </c:rich>
              </c:tx>
              <c:showLegendKey val="0"/>
              <c:showVal val="1"/>
              <c:showCatName val="0"/>
              <c:showSerName val="0"/>
              <c:showPercent val="0"/>
              <c:showBubbleSize val="0"/>
            </c:dLbl>
            <c:dLbl>
              <c:idx val="1"/>
              <c:tx>
                <c:rich>
                  <a:bodyPr/>
                  <a:lstStyle/>
                  <a:p>
                    <a:r>
                      <a:rPr>
                        <a:solidFill>
                          <a:srgbClr val="FFFFFF"/>
                        </a:solidFill>
                      </a:rPr>
                      <a:t>31.0</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0.366887</c:v>
                </c:pt>
                <c:pt idx="1">
                  <c:v>30.981945</c:v>
                </c:pt>
                <c:pt idx="2">
                  <c:v>19.5484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099778</c:v>
                </c:pt>
                <c:pt idx="1">
                  <c:v>8.854242</c:v>
                </c:pt>
                <c:pt idx="2">
                  <c:v>5.0687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599488</c:v>
                </c:pt>
                <c:pt idx="1">
                  <c:v>4.751111</c:v>
                </c:pt>
                <c:pt idx="2">
                  <c:v>3.3977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4.8</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4.759272</c:v>
                </c:pt>
                <c:pt idx="1">
                  <c:v>4.628179</c:v>
                </c:pt>
                <c:pt idx="2">
                  <c:v>2.83109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5902</c:v>
                </c:pt>
                <c:pt idx="1">
                  <c:v>3.919984</c:v>
                </c:pt>
                <c:pt idx="2">
                  <c:v>3.57360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041546</c:v>
                </c:pt>
                <c:pt idx="1">
                  <c:v>1.720438</c:v>
                </c:pt>
                <c:pt idx="2">
                  <c:v>0.97243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05482</c:v>
                </c:pt>
                <c:pt idx="1">
                  <c:v>0.13116</c:v>
                </c:pt>
                <c:pt idx="2">
                  <c:v>0.00015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391394</c:v>
                </c:pt>
                <c:pt idx="1">
                  <c:v>0.361804</c:v>
                </c:pt>
                <c:pt idx="2">
                  <c:v>0.01628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354</c:v>
                </c:pt>
                <c:pt idx="1">
                  <c:v>0.11462</c:v>
                </c:pt>
                <c:pt idx="2">
                  <c:v>0.0853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11094</c:v>
                </c:pt>
                <c:pt idx="1">
                  <c:v>0.20676</c:v>
                </c:pt>
                <c:pt idx="2">
                  <c:v>0.15886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3615</c:v>
                </c:pt>
                <c:pt idx="1">
                  <c:v>0.300481</c:v>
                </c:pt>
                <c:pt idx="2">
                  <c:v>0.220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9312</c:v>
                </c:pt>
                <c:pt idx="1">
                  <c:v>0.112459</c:v>
                </c:pt>
                <c:pt idx="2">
                  <c:v>0.0827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52</c:v>
                </c:pt>
                <c:pt idx="1">
                  <c:v>0.057086</c:v>
                </c:pt>
                <c:pt idx="2">
                  <c:v>0.04584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77199</c:v>
                </c:pt>
                <c:pt idx="1">
                  <c:v>0.172684</c:v>
                </c:pt>
                <c:pt idx="2">
                  <c:v>0.1153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8535</c:v>
                </c:pt>
                <c:pt idx="1">
                  <c:v>0.032213</c:v>
                </c:pt>
                <c:pt idx="2">
                  <c:v>0.0008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7774</c:v>
                </c:pt>
                <c:pt idx="1">
                  <c:v>0.007096</c:v>
                </c:pt>
                <c:pt idx="2">
                  <c:v>0.011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8002</c:v>
                </c:pt>
                <c:pt idx="1">
                  <c:v>0.395654</c:v>
                </c:pt>
                <c:pt idx="2">
                  <c:v>0.298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7528</c:v>
                </c:pt>
                <c:pt idx="1">
                  <c:v>0.313985</c:v>
                </c:pt>
                <c:pt idx="2">
                  <c:v>0.2126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8585</c:v>
                </c:pt>
                <c:pt idx="1">
                  <c:v>0.1918</c:v>
                </c:pt>
                <c:pt idx="2">
                  <c:v>0.142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5378</c:v>
                </c:pt>
                <c:pt idx="1">
                  <c:v>0.162015</c:v>
                </c:pt>
                <c:pt idx="2">
                  <c:v>0.137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7559</c:v>
                </c:pt>
                <c:pt idx="1">
                  <c:v>0.153881</c:v>
                </c:pt>
                <c:pt idx="2">
                  <c:v>0.1028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6843</c:v>
                </c:pt>
                <c:pt idx="1">
                  <c:v>0.046488</c:v>
                </c:pt>
                <c:pt idx="2">
                  <c:v>0.00116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9815</c:v>
                </c:pt>
                <c:pt idx="1">
                  <c:v>0.011864</c:v>
                </c:pt>
                <c:pt idx="2">
                  <c:v>0.0195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9929</c:v>
                </c:pt>
                <c:pt idx="1">
                  <c:v>0.562653</c:v>
                </c:pt>
                <c:pt idx="2">
                  <c:v>0.4102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0932</c:v>
                </c:pt>
                <c:pt idx="1">
                  <c:v>0.29259</c:v>
                </c:pt>
                <c:pt idx="2">
                  <c:v>0.16911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94065</c:v>
                </c:pt>
                <c:pt idx="1">
                  <c:v>0.334077</c:v>
                </c:pt>
                <c:pt idx="2">
                  <c:v>0.2482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74552</c:v>
                </c:pt>
                <c:pt idx="1">
                  <c:v>0.211261</c:v>
                </c:pt>
                <c:pt idx="2">
                  <c:v>0.10546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89422</c:v>
                </c:pt>
                <c:pt idx="1">
                  <c:v>0.285371</c:v>
                </c:pt>
                <c:pt idx="2">
                  <c:v>0.1907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6894</c:v>
                </c:pt>
                <c:pt idx="1">
                  <c:v>0.20094</c:v>
                </c:pt>
                <c:pt idx="2">
                  <c:v>0.16360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704</c:v>
                </c:pt>
                <c:pt idx="1">
                  <c:v>0.00032</c:v>
                </c:pt>
                <c:pt idx="2">
                  <c:v>2e-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0193</c:v>
                </c:pt>
                <c:pt idx="1">
                  <c:v>0.037616</c:v>
                </c:pt>
                <c:pt idx="2">
                  <c:v>0.0198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27642</c:v>
                </c:pt>
                <c:pt idx="1">
                  <c:v>2.548831</c:v>
                </c:pt>
                <c:pt idx="2">
                  <c:v>1.9055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0918</c:v>
                </c:pt>
                <c:pt idx="1">
                  <c:v>1.114869</c:v>
                </c:pt>
                <c:pt idx="2">
                  <c:v>0.663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72528</c:v>
                </c:pt>
                <c:pt idx="1">
                  <c:v>1.036688</c:v>
                </c:pt>
                <c:pt idx="2">
                  <c:v>0.75576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17943</c:v>
                </c:pt>
                <c:pt idx="1">
                  <c:v>1.039346</c:v>
                </c:pt>
                <c:pt idx="2">
                  <c:v>0.55635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757923</c:v>
                </c:pt>
                <c:pt idx="1">
                  <c:v>0.767977</c:v>
                </c:pt>
                <c:pt idx="2">
                  <c:v>0.5095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69667</c:v>
                </c:pt>
                <c:pt idx="1">
                  <c:v>0.388001</c:v>
                </c:pt>
                <c:pt idx="2">
                  <c:v>0.30893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1825</c:v>
                </c:pt>
                <c:pt idx="1">
                  <c:v>0.000676</c:v>
                </c:pt>
                <c:pt idx="2">
                  <c:v>5e-0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18467</c:v>
                </c:pt>
                <c:pt idx="1">
                  <c:v>0.051714</c:v>
                </c:pt>
                <c:pt idx="2">
                  <c:v>0.030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07544</c:v>
                </c:pt>
                <c:pt idx="1">
                  <c:v>3.872105</c:v>
                </c:pt>
                <c:pt idx="2">
                  <c:v>2.28130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10333</c:v>
                </c:pt>
                <c:pt idx="1">
                  <c:v>2.116566</c:v>
                </c:pt>
                <c:pt idx="2">
                  <c:v>1.3490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11894</c:v>
                </c:pt>
                <c:pt idx="1">
                  <c:v>0.750374</c:v>
                </c:pt>
                <c:pt idx="2">
                  <c:v>0.5900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9789</c:v>
                </c:pt>
                <c:pt idx="1">
                  <c:v>1.94408</c:v>
                </c:pt>
                <c:pt idx="2">
                  <c:v>1.38491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226112</c:v>
                </c:pt>
                <c:pt idx="1">
                  <c:v>2.148787</c:v>
                </c:pt>
                <c:pt idx="2">
                  <c:v>1.4949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30347</c:v>
                </c:pt>
                <c:pt idx="1">
                  <c:v>0.83324</c:v>
                </c:pt>
                <c:pt idx="2">
                  <c:v>0.52822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e-06</c:v>
                </c:pt>
                <c:pt idx="1">
                  <c:v>1.12782</c:v>
                </c:pt>
                <c:pt idx="2">
                  <c:v>1.08446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10716</c:v>
                </c:pt>
                <c:pt idx="1">
                  <c:v>0.324302</c:v>
                </c:pt>
                <c:pt idx="2">
                  <c:v>0.25419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57486</c:v>
                </c:pt>
                <c:pt idx="1">
                  <c:v>0.097144</c:v>
                </c:pt>
                <c:pt idx="2">
                  <c:v>0.0028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17038</c:v>
                </c:pt>
                <c:pt idx="1">
                  <c:v>0.382427</c:v>
                </c:pt>
                <c:pt idx="2">
                  <c:v>0.307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264817</c:v>
                </c:pt>
                <c:pt idx="1">
                  <c:v>7.474501</c:v>
                </c:pt>
                <c:pt idx="2">
                  <c:v>4.4106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10137</c:v>
                </c:pt>
                <c:pt idx="1">
                  <c:v>3.857215</c:v>
                </c:pt>
                <c:pt idx="2">
                  <c:v>2.418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3009</c:v>
                </c:pt>
                <c:pt idx="1">
                  <c:v>2.13218</c:v>
                </c:pt>
                <c:pt idx="2">
                  <c:v>1.7647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408156</c:v>
                </c:pt>
                <c:pt idx="1">
                  <c:v>2.012046</c:v>
                </c:pt>
                <c:pt idx="2">
                  <c:v>1.430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80911</c:v>
                </c:pt>
                <c:pt idx="1">
                  <c:v>2.001538</c:v>
                </c:pt>
                <c:pt idx="2">
                  <c:v>1.44790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255483</c:v>
                </c:pt>
                <c:pt idx="1">
                  <c:v>1.221028</c:v>
                </c:pt>
                <c:pt idx="2">
                  <c:v>0.7755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e-06</c:v>
                </c:pt>
                <c:pt idx="1">
                  <c:v>1.871292</c:v>
                </c:pt>
                <c:pt idx="2">
                  <c:v>1.78908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82151</c:v>
                </c:pt>
                <c:pt idx="1">
                  <c:v>1.172552</c:v>
                </c:pt>
                <c:pt idx="2">
                  <c:v>0.9259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875673</c:v>
                </c:pt>
                <c:pt idx="1">
                  <c:v>0.20026</c:v>
                </c:pt>
                <c:pt idx="2">
                  <c:v>0.00695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2397</c:v>
                </c:pt>
                <c:pt idx="1">
                  <c:v>0.747967</c:v>
                </c:pt>
                <c:pt idx="2">
                  <c:v>0.7135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99471</c:v>
                </c:pt>
                <c:pt idx="1">
                  <c:v>3.305678</c:v>
                </c:pt>
                <c:pt idx="2">
                  <c:v>2.1938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7423</c:v>
                </c:pt>
                <c:pt idx="1">
                  <c:v>1.436951</c:v>
                </c:pt>
                <c:pt idx="2">
                  <c:v>1.2393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17999</c:v>
                </c:pt>
                <c:pt idx="1">
                  <c:v>0.581858</c:v>
                </c:pt>
                <c:pt idx="2">
                  <c:v>0.93540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94442</c:v>
                </c:pt>
                <c:pt idx="1">
                  <c:v>0.408345</c:v>
                </c:pt>
                <c:pt idx="2">
                  <c:v>0.3953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86229</c:v>
                </c:pt>
                <c:pt idx="1">
                  <c:v>0.433628</c:v>
                </c:pt>
                <c:pt idx="2">
                  <c:v>0.40472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07089</c:v>
                </c:pt>
                <c:pt idx="1">
                  <c:v>0.154355</c:v>
                </c:pt>
                <c:pt idx="2">
                  <c:v>0.12382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1228</c:v>
                </c:pt>
                <c:pt idx="1">
                  <c:v>0.294966</c:v>
                </c:pt>
                <c:pt idx="2">
                  <c:v>0.1223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04134</c:v>
                </c:pt>
                <c:pt idx="1">
                  <c:v>0.128382</c:v>
                </c:pt>
                <c:pt idx="2">
                  <c:v>0.061632</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243</c:v>
                </c:pt>
                <c:pt idx="1">
                  <c:v>0.011828</c:v>
                </c:pt>
                <c:pt idx="2">
                  <c:v>0.02967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091109</c:v>
                </c:pt>
                <c:pt idx="1">
                  <c:v>1.343042</c:v>
                </c:pt>
                <c:pt idx="2">
                  <c:v>0.98738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8.0</a:t>
                    </a:r>
                  </a:p>
                </c:rich>
              </c:tx>
              <c:showLegendKey val="0"/>
              <c:showVal val="1"/>
              <c:showCatName val="0"/>
              <c:showSerName val="0"/>
              <c:showPercent val="0"/>
              <c:showBubbleSize val="0"/>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957113</c:v>
                </c:pt>
                <c:pt idx="1">
                  <c:v>9.276183</c:v>
                </c:pt>
                <c:pt idx="2">
                  <c:v>6.1092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7.0</a:t>
                    </a:r>
                  </a:p>
                </c:rich>
              </c:tx>
              <c:showLegendKey val="0"/>
              <c:showVal val="1"/>
              <c:showCatName val="0"/>
              <c:showSerName val="0"/>
              <c:showPercent val="0"/>
              <c:showBubbleSize val="0"/>
            </c:dLbl>
            <c:dLbl>
              <c:idx val="2"/>
              <c:tx>
                <c:rich>
                  <a:bodyPr/>
                  <a:lstStyle/>
                  <a:p>
                    <a:r>
                      <a:rPr>
                        <a:solidFill>
                          <a:srgbClr val="FFFFFF"/>
                        </a:solidFill>
                      </a:rPr>
                      <a:t>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481034</c:v>
                </c:pt>
                <c:pt idx="1">
                  <c:v>7.030537</c:v>
                </c:pt>
                <c:pt idx="2">
                  <c:v>5.5733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66596</c:v>
                </c:pt>
                <c:pt idx="1">
                  <c:v>1.716804</c:v>
                </c:pt>
                <c:pt idx="2">
                  <c:v>2.3830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26321</c:v>
                </c:pt>
                <c:pt idx="1">
                  <c:v>0.886415</c:v>
                </c:pt>
                <c:pt idx="2">
                  <c:v>0.8210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651034</c:v>
                </c:pt>
                <c:pt idx="1">
                  <c:v>0.831076</c:v>
                </c:pt>
                <c:pt idx="2">
                  <c:v>0.670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29062</c:v>
                </c:pt>
                <c:pt idx="1">
                  <c:v>0.528542</c:v>
                </c:pt>
                <c:pt idx="2">
                  <c:v>0.4145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360508</c:v>
                </c:pt>
                <c:pt idx="1">
                  <c:v>0.426631</c:v>
                </c:pt>
                <c:pt idx="2">
                  <c:v>0.12744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475216</c:v>
                </c:pt>
                <c:pt idx="1">
                  <c:v>0.267769</c:v>
                </c:pt>
                <c:pt idx="2">
                  <c:v>0.14394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7209</c:v>
                </c:pt>
                <c:pt idx="1">
                  <c:v>0.013724</c:v>
                </c:pt>
                <c:pt idx="2">
                  <c:v>0.03422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2.270558</c:v>
                </c:pt>
                <c:pt idx="1">
                  <c:v>2.495537</c:v>
                </c:pt>
                <c:pt idx="2">
                  <c:v>2.0586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274691</c:v>
                </c:pt>
                <c:pt idx="1">
                  <c:v>4.31717</c:v>
                </c:pt>
                <c:pt idx="2">
                  <c:v>0.66087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1209</c:v>
                </c:pt>
                <c:pt idx="1">
                  <c:v>0.776125</c:v>
                </c:pt>
                <c:pt idx="2">
                  <c:v>0.55052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76768</c:v>
                </c:pt>
                <c:pt idx="1">
                  <c:v>0.282002</c:v>
                </c:pt>
                <c:pt idx="2">
                  <c:v>0.04218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Gillette Venu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33341</c:v>
                </c:pt>
                <c:pt idx="1">
                  <c:v>0.537879</c:v>
                </c:pt>
                <c:pt idx="2">
                  <c:v>0.28695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Noxzema Bas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76818</c:v>
                </c:pt>
                <c:pt idx="1">
                  <c:v>0.356454</c:v>
                </c:pt>
                <c:pt idx="2">
                  <c:v>0.2396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chick Classic Wome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506854</c:v>
                </c:pt>
                <c:pt idx="1">
                  <c:v>0.018206</c:v>
                </c:pt>
                <c:pt idx="2">
                  <c:v>0.00481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97616</c:v>
                </c:pt>
                <c:pt idx="1">
                  <c:v>0.127796</c:v>
                </c:pt>
                <c:pt idx="2">
                  <c:v>0.0818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a:solidFill>
                          <a:srgbClr val="FFFFFF"/>
                        </a:solidFill>
                      </a:rPr>
                      <a:t>7.0</a:t>
                    </a:r>
                  </a:p>
                </c:rich>
              </c:tx>
              <c:showLegendKey val="0"/>
              <c:showVal val="1"/>
              <c:showCatName val="0"/>
              <c:showSerName val="0"/>
              <c:showPercent val="0"/>
              <c:showBubbleSize val="0"/>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033954</c:v>
                </c:pt>
                <c:pt idx="1">
                  <c:v>5.670425</c:v>
                </c:pt>
                <c:pt idx="2">
                  <c:v>1.19080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1996</c:v>
                </c:pt>
                <c:pt idx="1">
                  <c:v>1.340721</c:v>
                </c:pt>
                <c:pt idx="2">
                  <c:v>0.8995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56688</c:v>
                </c:pt>
                <c:pt idx="1">
                  <c:v>0.536074</c:v>
                </c:pt>
                <c:pt idx="2">
                  <c:v>0.0576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Gillette Venus</c:v>
                </c:pt>
              </c:strCache>
            </c:strRef>
          </c:tx>
          <c:spPr>
            <a:solidFill>
              <a:srgbClr val="9B9898"/>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633375</c:v>
                </c:pt>
                <c:pt idx="1">
                  <c:v>0.795918</c:v>
                </c:pt>
                <c:pt idx="2">
                  <c:v>0.39572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Noxzema Base</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05984</c:v>
                </c:pt>
                <c:pt idx="1">
                  <c:v>0.293295</c:v>
                </c:pt>
                <c:pt idx="2">
                  <c:v>0.19543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chick Classic Women</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73938</c:v>
                </c:pt>
                <c:pt idx="1">
                  <c:v>0.009447</c:v>
                </c:pt>
                <c:pt idx="2">
                  <c:v>0.00489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9029</c:v>
                </c:pt>
                <c:pt idx="1">
                  <c:v>0.129928</c:v>
                </c:pt>
                <c:pt idx="2">
                  <c:v>0.085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993024</c:v>
                </c:pt>
                <c:pt idx="1">
                  <c:v>7.501954</c:v>
                </c:pt>
                <c:pt idx="2">
                  <c:v>5.74198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79082</c:v>
                </c:pt>
                <c:pt idx="1">
                  <c:v>1.550958</c:v>
                </c:pt>
                <c:pt idx="2">
                  <c:v>1.28251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38481</c:v>
                </c:pt>
                <c:pt idx="1">
                  <c:v>0.983819</c:v>
                </c:pt>
                <c:pt idx="2">
                  <c:v>0.70072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38076</c:v>
                </c:pt>
                <c:pt idx="1">
                  <c:v>0.943949</c:v>
                </c:pt>
                <c:pt idx="2">
                  <c:v>1.19215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8163</c:v>
                </c:pt>
                <c:pt idx="1">
                  <c:v>1.83126</c:v>
                </c:pt>
                <c:pt idx="2">
                  <c:v>3.19049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815941</c:v>
                </c:pt>
                <c:pt idx="1">
                  <c:v>0.724847</c:v>
                </c:pt>
                <c:pt idx="2">
                  <c:v>0.73462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78487</c:v>
                </c:pt>
                <c:pt idx="1">
                  <c:v>0.485837</c:v>
                </c:pt>
                <c:pt idx="2">
                  <c:v>0.456241</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9341</c:v>
                </c:pt>
                <c:pt idx="1">
                  <c:v>0.061973</c:v>
                </c:pt>
                <c:pt idx="2">
                  <c:v>0.03497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20386</c:v>
                </c:pt>
                <c:pt idx="1">
                  <c:v>0.254908</c:v>
                </c:pt>
                <c:pt idx="2">
                  <c:v>0.1748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5.4</a:t>
                    </a:r>
                  </a:p>
                </c:rich>
              </c:tx>
              <c:showLegendKey val="0"/>
              <c:showVal val="1"/>
              <c:showCatName val="0"/>
              <c:showSerName val="0"/>
              <c:showPercent val="0"/>
              <c:showBubbleSize val="0"/>
            </c:dLbl>
            <c:dLbl>
              <c:idx val="1"/>
              <c:tx>
                <c:rich>
                  <a:bodyPr/>
                  <a:lstStyle/>
                  <a:p>
                    <a:r>
                      <a:rPr>
                        <a:solidFill>
                          <a:srgbClr val="FFFFFF"/>
                        </a:solidFill>
                      </a:rPr>
                      <a:t>29.3</a:t>
                    </a:r>
                  </a:p>
                </c:rich>
              </c:tx>
              <c:showLegendKey val="0"/>
              <c:showVal val="1"/>
              <c:showCatName val="0"/>
              <c:showSerName val="0"/>
              <c:showPercent val="0"/>
              <c:showBubbleSize val="0"/>
            </c:dLbl>
            <c:dLbl>
              <c:idx val="2"/>
              <c:tx>
                <c:rich>
                  <a:bodyPr/>
                  <a:lstStyle/>
                  <a:p>
                    <a:r>
                      <a:rPr>
                        <a:solidFill>
                          <a:srgbClr val="FFFFFF"/>
                        </a:solidFill>
                      </a:rPr>
                      <a:t>2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371885</c:v>
                </c:pt>
                <c:pt idx="1">
                  <c:v>29.276557</c:v>
                </c:pt>
                <c:pt idx="2">
                  <c:v>22.25707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4.8</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773102</c:v>
                </c:pt>
                <c:pt idx="1">
                  <c:v>5.127779</c:v>
                </c:pt>
                <c:pt idx="2">
                  <c:v>3.88392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448629</c:v>
                </c:pt>
                <c:pt idx="1">
                  <c:v>3.167584</c:v>
                </c:pt>
                <c:pt idx="2">
                  <c:v>2.15706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81233</c:v>
                </c:pt>
                <c:pt idx="1">
                  <c:v>2.163636</c:v>
                </c:pt>
                <c:pt idx="2">
                  <c:v>2.68810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11455</c:v>
                </c:pt>
                <c:pt idx="1">
                  <c:v>1.574763</c:v>
                </c:pt>
                <c:pt idx="2">
                  <c:v>3.01577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433426</c:v>
                </c:pt>
                <c:pt idx="1">
                  <c:v>1.493417</c:v>
                </c:pt>
                <c:pt idx="2">
                  <c:v>1.46834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646183</c:v>
                </c:pt>
                <c:pt idx="1">
                  <c:v>0.965752</c:v>
                </c:pt>
                <c:pt idx="2">
                  <c:v>0.7739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7113</c:v>
                </c:pt>
                <c:pt idx="1">
                  <c:v>0.071999</c:v>
                </c:pt>
                <c:pt idx="2">
                  <c:v>0.0383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325955</c:v>
                </c:pt>
                <c:pt idx="1">
                  <c:v>0.328481</c:v>
                </c:pt>
                <c:pt idx="2">
                  <c:v>0.21579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36183</c:v>
                </c:pt>
                <c:pt idx="1">
                  <c:v>0.012511</c:v>
                </c:pt>
                <c:pt idx="2">
                  <c:v>4.4e-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8e-05</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99954</c:v>
                </c:pt>
                <c:pt idx="1">
                  <c:v>0.028349</c:v>
                </c:pt>
                <c:pt idx="2">
                  <c:v>4.3e-0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e-06</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3381</c:v>
                </c:pt>
                <c:pt idx="1">
                  <c:v>5.519817</c:v>
                </c:pt>
                <c:pt idx="2">
                  <c:v>4.24707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885273</c:v>
                </c:pt>
                <c:pt idx="1">
                  <c:v>2.565063</c:v>
                </c:pt>
                <c:pt idx="2">
                  <c:v>1.57127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558477</c:v>
                </c:pt>
                <c:pt idx="1">
                  <c:v>1.926374</c:v>
                </c:pt>
                <c:pt idx="2">
                  <c:v>0.75716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886473</c:v>
                </c:pt>
                <c:pt idx="1">
                  <c:v>2.561723</c:v>
                </c:pt>
                <c:pt idx="2">
                  <c:v>1.5604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54583</c:v>
                </c:pt>
                <c:pt idx="1">
                  <c:v>1.66231</c:v>
                </c:pt>
                <c:pt idx="2">
                  <c:v>1.4975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865919</c:v>
                </c:pt>
                <c:pt idx="1">
                  <c:v>0.860112</c:v>
                </c:pt>
                <c:pt idx="2">
                  <c:v>0.54886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6264</c:v>
                </c:pt>
                <c:pt idx="1">
                  <c:v>0.292698</c:v>
                </c:pt>
                <c:pt idx="2">
                  <c:v>0.42007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05157</c:v>
                </c:pt>
                <c:pt idx="1">
                  <c:v>0.00456</c:v>
                </c:pt>
                <c:pt idx="2">
                  <c:v>0.00107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663</c:v>
                </c:pt>
                <c:pt idx="1">
                  <c:v>0.000251</c:v>
                </c:pt>
                <c:pt idx="2">
                  <c:v>0.00024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7.9</a:t>
                    </a:r>
                  </a:p>
                </c:rich>
              </c:tx>
              <c:showLegendKey val="0"/>
              <c:showVal val="1"/>
              <c:showCatName val="0"/>
              <c:showSerName val="0"/>
              <c:showPercent val="0"/>
              <c:showBubbleSize val="0"/>
            </c:dLbl>
            <c:dLbl>
              <c:idx val="1"/>
              <c:tx>
                <c:rich>
                  <a:bodyPr/>
                  <a:lstStyle/>
                  <a:p>
                    <a:r>
                      <a:rPr>
                        <a:solidFill>
                          <a:srgbClr val="FFFFFF"/>
                        </a:solidFill>
                      </a:rPr>
                      <a:t>32.2</a:t>
                    </a:r>
                  </a:p>
                </c:rich>
              </c:tx>
              <c:showLegendKey val="0"/>
              <c:showVal val="1"/>
              <c:showCatName val="0"/>
              <c:showSerName val="0"/>
              <c:showPercent val="0"/>
              <c:showBubbleSize val="0"/>
            </c:dLbl>
            <c:dLbl>
              <c:idx val="2"/>
              <c:tx>
                <c:rich>
                  <a:bodyPr/>
                  <a:lstStyle/>
                  <a:p>
                    <a:r>
                      <a:rPr>
                        <a:solidFill>
                          <a:srgbClr val="FFFFFF"/>
                        </a:solidFill>
                      </a:rPr>
                      <a:t>2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7.857808</c:v>
                </c:pt>
                <c:pt idx="1">
                  <c:v>32.214789</c:v>
                </c:pt>
                <c:pt idx="2">
                  <c:v>24.85458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tx>
                <c:rich>
                  <a:bodyPr/>
                  <a:lstStyle/>
                  <a:p>
                    <a:r>
                      <a:rPr>
                        <a:solidFill>
                          <a:srgbClr val="FFFFFF"/>
                        </a:solidFill>
                      </a:rPr>
                      <a:t>19.3</a:t>
                    </a:r>
                  </a:p>
                </c:rich>
              </c:tx>
              <c:showLegendKey val="0"/>
              <c:showVal val="1"/>
              <c:showCatName val="0"/>
              <c:showSerName val="0"/>
              <c:showPercent val="0"/>
              <c:showBubbleSize val="0"/>
            </c:dLbl>
            <c:dLbl>
              <c:idx val="1"/>
              <c:tx>
                <c:rich>
                  <a:bodyPr/>
                  <a:lstStyle/>
                  <a:p>
                    <a:r>
                      <a:rPr>
                        <a:solidFill>
                          <a:srgbClr val="FFFFFF"/>
                        </a:solidFill>
                      </a:rPr>
                      <a:t>12.6</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339582</c:v>
                </c:pt>
                <c:pt idx="1">
                  <c:v>12.602193</c:v>
                </c:pt>
                <c:pt idx="2">
                  <c:v>7.7911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12.6</a:t>
                    </a:r>
                  </a:p>
                </c:rich>
              </c:tx>
              <c:showLegendKey val="0"/>
              <c:showVal val="1"/>
              <c:showCatName val="0"/>
              <c:showSerName val="0"/>
              <c:showPercent val="0"/>
              <c:showBubbleSize val="0"/>
            </c:dLbl>
            <c:dLbl>
              <c:idx val="1"/>
              <c:tx>
                <c:rich>
                  <a:bodyPr/>
                  <a:lstStyle/>
                  <a:p>
                    <a:r>
                      <a:rPr>
                        <a:solidFill>
                          <a:srgbClr val="FFFFFF"/>
                        </a:solidFill>
                      </a:rPr>
                      <a:t>11.9</a:t>
                    </a:r>
                  </a:p>
                </c:rich>
              </c:tx>
              <c:showLegendKey val="0"/>
              <c:showVal val="1"/>
              <c:showCatName val="0"/>
              <c:showSerName val="0"/>
              <c:showPercent val="0"/>
              <c:showBubbleSize val="0"/>
            </c:dLbl>
            <c:dLbl>
              <c:idx val="2"/>
              <c:tx>
                <c:rich>
                  <a:bodyPr/>
                  <a:lstStyle/>
                  <a:p>
                    <a:r>
                      <a:rPr>
                        <a:solidFill>
                          <a:srgbClr val="FFFFFF"/>
                        </a:solidFill>
                      </a:rPr>
                      <a:t>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2.596615</c:v>
                </c:pt>
                <c:pt idx="1">
                  <c:v>11.905552</c:v>
                </c:pt>
                <c:pt idx="2">
                  <c:v>5.9611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a:solidFill>
                          <a:srgbClr val="FFFFFF"/>
                        </a:solidFill>
                      </a:rPr>
                      <a:t>11.0</a:t>
                    </a:r>
                  </a:p>
                </c:rich>
              </c:tx>
              <c:showLegendKey val="0"/>
              <c:showVal val="1"/>
              <c:showCatName val="0"/>
              <c:showSerName val="0"/>
              <c:showPercent val="0"/>
              <c:showBubbleSize val="0"/>
            </c:dLbl>
            <c:dLbl>
              <c:idx val="1"/>
              <c:tx>
                <c:rich>
                  <a:bodyPr/>
                  <a:lstStyle/>
                  <a:p>
                    <a:r>
                      <a:rPr>
                        <a:solidFill>
                          <a:srgbClr val="FFFFFF"/>
                        </a:solidFill>
                      </a:rPr>
                      <a:t>10.2</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959304</c:v>
                </c:pt>
                <c:pt idx="1">
                  <c:v>10.216243</c:v>
                </c:pt>
                <c:pt idx="2">
                  <c:v>6.14650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8.7</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746343</c:v>
                </c:pt>
                <c:pt idx="1">
                  <c:v>7.654053</c:v>
                </c:pt>
                <c:pt idx="2">
                  <c:v>5.7054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468451</c:v>
                </c:pt>
                <c:pt idx="1">
                  <c:v>2.472179</c:v>
                </c:pt>
                <c:pt idx="2">
                  <c:v>1.57779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80262</c:v>
                </c:pt>
                <c:pt idx="1">
                  <c:v>1.508961</c:v>
                </c:pt>
                <c:pt idx="2">
                  <c:v>1.90040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477053</c:v>
                </c:pt>
                <c:pt idx="1">
                  <c:v>0.015435</c:v>
                </c:pt>
                <c:pt idx="2">
                  <c:v>0.00450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713</c:v>
                </c:pt>
                <c:pt idx="1">
                  <c:v>0.000284</c:v>
                </c:pt>
                <c:pt idx="2">
                  <c:v>0.0002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351363</c:v>
                </c:pt>
                <c:pt idx="1">
                  <c:v>2.634344</c:v>
                </c:pt>
                <c:pt idx="2">
                  <c:v>2.1314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mazon</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193867</c:v>
                </c:pt>
                <c:pt idx="1">
                  <c:v>3.979374</c:v>
                </c:pt>
                <c:pt idx="2">
                  <c:v>2.91286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69468</c:v>
                </c:pt>
                <c:pt idx="1">
                  <c:v>0.774121</c:v>
                </c:pt>
                <c:pt idx="2">
                  <c:v>0.49150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58806</c:v>
                </c:pt>
                <c:pt idx="1">
                  <c:v>0.802626</c:v>
                </c:pt>
                <c:pt idx="2">
                  <c:v>0.66024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83791</c:v>
                </c:pt>
                <c:pt idx="1">
                  <c:v>0.630948</c:v>
                </c:pt>
                <c:pt idx="2">
                  <c:v>0.33061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383027</c:v>
                </c:pt>
                <c:pt idx="1">
                  <c:v>0.376165</c:v>
                </c:pt>
                <c:pt idx="2">
                  <c:v>0.1729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191131</c:v>
                </c:pt>
                <c:pt idx="2">
                  <c:v>0.26783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40757</c:v>
                </c:pt>
                <c:pt idx="1">
                  <c:v>0.179992</c:v>
                </c:pt>
                <c:pt idx="2">
                  <c:v>0.1309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04243</c:v>
                </c:pt>
                <c:pt idx="2">
                  <c:v>0.01614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1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1.951013</c:v>
                </c:pt>
                <c:pt idx="1">
                  <c:v>13.272099</c:v>
                </c:pt>
                <c:pt idx="2">
                  <c:v>10.8591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mazon</c:v>
                </c:pt>
              </c:strCache>
            </c:strRef>
          </c:tx>
          <c:spPr>
            <a:solidFill>
              <a:srgbClr val="BFBFBF"/>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421666</c:v>
                </c:pt>
                <c:pt idx="1">
                  <c:v>5.939095</c:v>
                </c:pt>
                <c:pt idx="2">
                  <c:v>4.2461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674778</c:v>
                </c:pt>
                <c:pt idx="1">
                  <c:v>2.944516</c:v>
                </c:pt>
                <c:pt idx="2">
                  <c:v>1.9552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924596</c:v>
                </c:pt>
                <c:pt idx="1">
                  <c:v>3.174707</c:v>
                </c:pt>
                <c:pt idx="2">
                  <c:v>2.6719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8517</c:v>
                </c:pt>
                <c:pt idx="1">
                  <c:v>1.58168</c:v>
                </c:pt>
                <c:pt idx="2">
                  <c:v>0.7571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128016</c:v>
                </c:pt>
                <c:pt idx="1">
                  <c:v>1.154615</c:v>
                </c:pt>
                <c:pt idx="2">
                  <c:v>0.52233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c:v>
                </c:pt>
                <c:pt idx="1">
                  <c:v>0.603991</c:v>
                </c:pt>
                <c:pt idx="2">
                  <c:v>1.21715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48862</c:v>
                </c:pt>
                <c:pt idx="1">
                  <c:v>0.659705</c:v>
                </c:pt>
                <c:pt idx="2">
                  <c:v>0.47615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c:v>
                </c:pt>
                <c:pt idx="1">
                  <c:v>0.055784</c:v>
                </c:pt>
                <c:pt idx="2">
                  <c:v>0.1029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44901</c:v>
                </c:pt>
                <c:pt idx="1">
                  <c:v>1.828543</c:v>
                </c:pt>
                <c:pt idx="2">
                  <c:v>1.2846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829872</c:v>
                </c:pt>
                <c:pt idx="1">
                  <c:v>0.656745</c:v>
                </c:pt>
                <c:pt idx="2">
                  <c:v>0.32894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539099</c:v>
                </c:pt>
                <c:pt idx="1">
                  <c:v>0.529805</c:v>
                </c:pt>
                <c:pt idx="2">
                  <c:v>0.3305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68383</c:v>
                </c:pt>
                <c:pt idx="1">
                  <c:v>0.441442</c:v>
                </c:pt>
                <c:pt idx="2">
                  <c:v>0.33344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1</c:v>
                </c:pt>
                <c:pt idx="1">
                  <c:v>0.479838</c:v>
                </c:pt>
                <c:pt idx="2">
                  <c:v>0.3331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417166</c:v>
                </c:pt>
                <c:pt idx="1">
                  <c:v>0.332216</c:v>
                </c:pt>
                <c:pt idx="2">
                  <c:v>0.24462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06871</c:v>
                </c:pt>
                <c:pt idx="1">
                  <c:v>0.060503</c:v>
                </c:pt>
                <c:pt idx="2">
                  <c:v>0.0033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267772</c:v>
                </c:pt>
                <c:pt idx="1">
                  <c:v>0.039894</c:v>
                </c:pt>
                <c:pt idx="2">
                  <c:v>2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2348</c:v>
                </c:pt>
                <c:pt idx="1">
                  <c:v>0.053571</c:v>
                </c:pt>
                <c:pt idx="2">
                  <c:v>0.0228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5.2</a:t>
                    </a:r>
                  </a:p>
                </c:rich>
              </c:tx>
              <c:showLegendKey val="0"/>
              <c:showVal val="1"/>
              <c:showCatName val="0"/>
              <c:showSerName val="0"/>
              <c:showPercent val="0"/>
              <c:showBubbleSize val="0"/>
            </c:dLbl>
            <c:dLbl>
              <c:idx val="1"/>
              <c:tx>
                <c:rich>
                  <a:bodyPr/>
                  <a:lstStyle/>
                  <a:p>
                    <a:r>
                      <a:rPr>
                        <a:solidFill>
                          <a:srgbClr val="FFFFFF"/>
                        </a:solidFill>
                      </a:rPr>
                      <a:t>15.7</a:t>
                    </a:r>
                  </a:p>
                </c:rich>
              </c:tx>
              <c:showLegendKey val="0"/>
              <c:showVal val="1"/>
              <c:showCatName val="0"/>
              <c:showSerName val="0"/>
              <c:showPercent val="0"/>
              <c:showBubbleSize val="0"/>
            </c:dLbl>
            <c:dLbl>
              <c:idx val="2"/>
              <c:tx>
                <c:rich>
                  <a:bodyPr/>
                  <a:lstStyle/>
                  <a:p>
                    <a:r>
                      <a:rPr>
                        <a:solidFill>
                          <a:srgbClr val="FFFFFF"/>
                        </a:solidFill>
                      </a:rPr>
                      <a:t>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219921</c:v>
                </c:pt>
                <c:pt idx="1">
                  <c:v>15.727332</c:v>
                </c:pt>
                <c:pt idx="2">
                  <c:v>9.66289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541323</c:v>
                </c:pt>
                <c:pt idx="1">
                  <c:v>3.945799</c:v>
                </c:pt>
                <c:pt idx="2">
                  <c:v>1.9898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208791</c:v>
                </c:pt>
                <c:pt idx="1">
                  <c:v>3.251255</c:v>
                </c:pt>
                <c:pt idx="2">
                  <c:v>1.93368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20385</c:v>
                </c:pt>
                <c:pt idx="1">
                  <c:v>2.597907</c:v>
                </c:pt>
                <c:pt idx="2">
                  <c:v>1.81743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058</c:v>
                </c:pt>
                <c:pt idx="1">
                  <c:v>2.711287</c:v>
                </c:pt>
                <c:pt idx="2">
                  <c:v>1.93451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222936</c:v>
                </c:pt>
                <c:pt idx="1">
                  <c:v>1.026158</c:v>
                </c:pt>
                <c:pt idx="2">
                  <c:v>0.63439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088732</c:v>
                </c:pt>
                <c:pt idx="1">
                  <c:v>0.343847</c:v>
                </c:pt>
                <c:pt idx="2">
                  <c:v>0.01625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256191</c:v>
                </c:pt>
                <c:pt idx="1">
                  <c:v>0.097606</c:v>
                </c:pt>
                <c:pt idx="2">
                  <c:v>6.9e-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2615</c:v>
                </c:pt>
                <c:pt idx="1">
                  <c:v>0.108264</c:v>
                </c:pt>
                <c:pt idx="2">
                  <c:v>0.0788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072562</c:v>
                </c:pt>
                <c:pt idx="1">
                  <c:v>3.148695</c:v>
                </c:pt>
                <c:pt idx="2">
                  <c:v>1.96711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38336</c:v>
                </c:pt>
                <c:pt idx="1">
                  <c:v>0.922187</c:v>
                </c:pt>
                <c:pt idx="2">
                  <c:v>0.5894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07521</c:v>
                </c:pt>
                <c:pt idx="1">
                  <c:v>0.800634</c:v>
                </c:pt>
                <c:pt idx="2">
                  <c:v>0.59880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23402</c:v>
                </c:pt>
                <c:pt idx="1">
                  <c:v>0.276836</c:v>
                </c:pt>
                <c:pt idx="2">
                  <c:v>0.19241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653</c:v>
                </c:pt>
                <c:pt idx="1">
                  <c:v>0.407189</c:v>
                </c:pt>
                <c:pt idx="2">
                  <c:v>0.60755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96061</c:v>
                </c:pt>
                <c:pt idx="1">
                  <c:v>0.250232</c:v>
                </c:pt>
                <c:pt idx="2">
                  <c:v>0.17385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316417</c:v>
                </c:pt>
                <c:pt idx="1">
                  <c:v>0.027299</c:v>
                </c:pt>
                <c:pt idx="2">
                  <c:v>5e-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11691</c:v>
                </c:pt>
                <c:pt idx="1">
                  <c:v>0.006666</c:v>
                </c:pt>
                <c:pt idx="2">
                  <c:v>1.9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681</c:v>
                </c:pt>
                <c:pt idx="1">
                  <c:v>0.012406</c:v>
                </c:pt>
                <c:pt idx="2">
                  <c:v>0.012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5.1</a:t>
                    </a:r>
                  </a:p>
                </c:rich>
              </c:tx>
              <c:showLegendKey val="0"/>
              <c:showVal val="1"/>
              <c:showCatName val="0"/>
              <c:showSerName val="0"/>
              <c:showPercent val="0"/>
              <c:showBubbleSize val="0"/>
            </c:dLbl>
            <c:dLbl>
              <c:idx val="1"/>
              <c:tx>
                <c:rich>
                  <a:bodyPr/>
                  <a:lstStyle/>
                  <a:p>
                    <a:r>
                      <a:rPr>
                        <a:solidFill>
                          <a:srgbClr val="FFFFFF"/>
                        </a:solidFill>
                      </a:rPr>
                      <a:t>15.3</a:t>
                    </a:r>
                  </a:p>
                </c:rich>
              </c:tx>
              <c:showLegendKey val="0"/>
              <c:showVal val="1"/>
              <c:showCatName val="0"/>
              <c:showSerName val="0"/>
              <c:showPercent val="0"/>
              <c:showBubbleSize val="0"/>
            </c:dLbl>
            <c:dLbl>
              <c:idx val="2"/>
              <c:tx>
                <c:rich>
                  <a:bodyPr/>
                  <a:lstStyle/>
                  <a:p>
                    <a:r>
                      <a:rPr>
                        <a:solidFill>
                          <a:srgbClr val="FFFFFF"/>
                        </a:solidFill>
                      </a:rPr>
                      <a:t>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146966</c:v>
                </c:pt>
                <c:pt idx="1">
                  <c:v>15.254613</c:v>
                </c:pt>
                <c:pt idx="2">
                  <c:v>9.8855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258501</c:v>
                </c:pt>
                <c:pt idx="1">
                  <c:v>4.880094</c:v>
                </c:pt>
                <c:pt idx="2">
                  <c:v>3.0788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879103</c:v>
                </c:pt>
                <c:pt idx="1">
                  <c:v>2.153204</c:v>
                </c:pt>
                <c:pt idx="2">
                  <c:v>1.5802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550481</c:v>
                </c:pt>
                <c:pt idx="1">
                  <c:v>1.376924</c:v>
                </c:pt>
                <c:pt idx="2">
                  <c:v>0.8974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322</c:v>
                </c:pt>
                <c:pt idx="1">
                  <c:v>1.208697</c:v>
                </c:pt>
                <c:pt idx="2">
                  <c:v>1.6390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81861</c:v>
                </c:pt>
                <c:pt idx="1">
                  <c:v>0.69428</c:v>
                </c:pt>
                <c:pt idx="2">
                  <c:v>0.33804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798629</c:v>
                </c:pt>
                <c:pt idx="1">
                  <c:v>0.033554</c:v>
                </c:pt>
                <c:pt idx="2">
                  <c:v>8.4e-0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02662</c:v>
                </c:pt>
                <c:pt idx="1">
                  <c:v>0.017957</c:v>
                </c:pt>
                <c:pt idx="2">
                  <c:v>2.7e-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917</c:v>
                </c:pt>
                <c:pt idx="1">
                  <c:v>0.006356</c:v>
                </c:pt>
                <c:pt idx="2">
                  <c:v>0.0064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2195</c:v>
                </c:pt>
                <c:pt idx="1">
                  <c:v>0.014148</c:v>
                </c:pt>
                <c:pt idx="2">
                  <c:v>0.0031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26149</c:v>
                </c:pt>
                <c:pt idx="2">
                  <c:v>0.01951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0154</c:v>
                </c:pt>
                <c:pt idx="1">
                  <c:v>0.011387</c:v>
                </c:pt>
                <c:pt idx="2">
                  <c:v>0.0002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6.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43584</c:v>
                </c:pt>
                <c:pt idx="1">
                  <c:v>0.027581</c:v>
                </c:pt>
                <c:pt idx="2">
                  <c:v>0.0023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41334</c:v>
                </c:pt>
                <c:pt idx="2">
                  <c:v>0.03054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8425</c:v>
                </c:pt>
                <c:pt idx="1">
                  <c:v>0.010264</c:v>
                </c:pt>
                <c:pt idx="2">
                  <c:v>9.5e-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0.0001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5454</c:v>
                </c:pt>
                <c:pt idx="1">
                  <c:v>0.204923</c:v>
                </c:pt>
                <c:pt idx="2">
                  <c:v>0.17144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96</c:v>
                </c:pt>
                <c:pt idx="1">
                  <c:v>0.099493</c:v>
                </c:pt>
                <c:pt idx="2">
                  <c:v>0.04213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6963</c:v>
                </c:pt>
                <c:pt idx="1">
                  <c:v>0.092318</c:v>
                </c:pt>
                <c:pt idx="2">
                  <c:v>0.06057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0775</c:v>
                </c:pt>
                <c:pt idx="1">
                  <c:v>0.108474</c:v>
                </c:pt>
                <c:pt idx="2">
                  <c:v>0.07330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55536</c:v>
                </c:pt>
                <c:pt idx="1">
                  <c:v>0.059283</c:v>
                </c:pt>
                <c:pt idx="2">
                  <c:v>0.05344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8332</c:v>
                </c:pt>
                <c:pt idx="1">
                  <c:v>0.051345</c:v>
                </c:pt>
                <c:pt idx="2">
                  <c:v>0.0359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6974</c:v>
                </c:pt>
                <c:pt idx="1">
                  <c:v>5e-06</c:v>
                </c:pt>
                <c:pt idx="2">
                  <c:v>2e-0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2.6e-05</c:v>
                </c:pt>
                <c:pt idx="2">
                  <c:v>5.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578</c:v>
                </c:pt>
                <c:pt idx="1">
                  <c:v>0.837311</c:v>
                </c:pt>
                <c:pt idx="2">
                  <c:v>0.5236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8893</c:v>
                </c:pt>
                <c:pt idx="1">
                  <c:v>0.056459</c:v>
                </c:pt>
                <c:pt idx="2">
                  <c:v>0.00123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7312</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63019</c:v>
                </c:pt>
                <c:pt idx="1">
                  <c:v>1.163414</c:v>
                </c:pt>
                <c:pt idx="2">
                  <c:v>0.9546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15917</c:v>
                </c:pt>
                <c:pt idx="1">
                  <c:v>0.63774</c:v>
                </c:pt>
                <c:pt idx="2">
                  <c:v>0.3342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80977</c:v>
                </c:pt>
                <c:pt idx="1">
                  <c:v>0.449709</c:v>
                </c:pt>
                <c:pt idx="2">
                  <c:v>0.30186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432617</c:v>
                </c:pt>
                <c:pt idx="1">
                  <c:v>0.381629</c:v>
                </c:pt>
                <c:pt idx="2">
                  <c:v>0.251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4851</c:v>
                </c:pt>
                <c:pt idx="1">
                  <c:v>0.268475</c:v>
                </c:pt>
                <c:pt idx="2">
                  <c:v>0.2063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3717</c:v>
                </c:pt>
                <c:pt idx="1">
                  <c:v>0.147229</c:v>
                </c:pt>
                <c:pt idx="2">
                  <c:v>0.10327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1633</c:v>
                </c:pt>
                <c:pt idx="1">
                  <c:v>2.6e-05</c:v>
                </c:pt>
                <c:pt idx="2">
                  <c:v>5e-0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5.5e-05</c:v>
                </c:pt>
                <c:pt idx="2">
                  <c:v>0.000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4475</c:v>
                </c:pt>
                <c:pt idx="1">
                  <c:v>0.35773</c:v>
                </c:pt>
                <c:pt idx="2">
                  <c:v>0.23874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08207</c:v>
                </c:pt>
                <c:pt idx="1">
                  <c:v>0.169968</c:v>
                </c:pt>
                <c:pt idx="2">
                  <c:v>0.09265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7102</c:v>
                </c:pt>
                <c:pt idx="1">
                  <c:v>0.241759</c:v>
                </c:pt>
                <c:pt idx="2">
                  <c:v>0.18772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33886</c:v>
                </c:pt>
                <c:pt idx="1">
                  <c:v>0.226088</c:v>
                </c:pt>
                <c:pt idx="2">
                  <c:v>0.13726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34952</c:v>
                </c:pt>
                <c:pt idx="1">
                  <c:v>0.111768</c:v>
                </c:pt>
                <c:pt idx="2">
                  <c:v>0.0633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8562</c:v>
                </c:pt>
                <c:pt idx="1">
                  <c:v>0.149595</c:v>
                </c:pt>
                <c:pt idx="2">
                  <c:v>0.12761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473</c:v>
                </c:pt>
                <c:pt idx="1">
                  <c:v>0.000315</c:v>
                </c:pt>
                <c:pt idx="2">
                  <c:v>0.0</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9e-05</c:v>
                </c:pt>
                <c:pt idx="1">
                  <c:v>5.4e-05</c:v>
                </c:pt>
                <c:pt idx="2">
                  <c:v>1.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64623</c:v>
                </c:pt>
                <c:pt idx="1">
                  <c:v>1.385417</c:v>
                </c:pt>
                <c:pt idx="2">
                  <c:v>0.9507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832979</c:v>
                </c:pt>
                <c:pt idx="1">
                  <c:v>0.705659</c:v>
                </c:pt>
                <c:pt idx="2">
                  <c:v>0.40975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91551</c:v>
                </c:pt>
                <c:pt idx="1">
                  <c:v>0.586979</c:v>
                </c:pt>
                <c:pt idx="2">
                  <c:v>0.45390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09413</c:v>
                </c:pt>
                <c:pt idx="1">
                  <c:v>0.499502</c:v>
                </c:pt>
                <c:pt idx="2">
                  <c:v>0.30312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463513</c:v>
                </c:pt>
                <c:pt idx="1">
                  <c:v>0.401606</c:v>
                </c:pt>
                <c:pt idx="2">
                  <c:v>0.2221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595</c:v>
                </c:pt>
                <c:pt idx="1">
                  <c:v>0.240772</c:v>
                </c:pt>
                <c:pt idx="2">
                  <c:v>0.20565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0192</c:v>
                </c:pt>
                <c:pt idx="1">
                  <c:v>0.00065</c:v>
                </c:pt>
                <c:pt idx="2">
                  <c:v>0.0</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4.2e-05</c:v>
                </c:pt>
                <c:pt idx="1">
                  <c:v>6.1e-05</c:v>
                </c:pt>
                <c:pt idx="2">
                  <c:v>1.5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9886</c:v>
                </c:pt>
                <c:pt idx="1">
                  <c:v>0.19419</c:v>
                </c:pt>
                <c:pt idx="2">
                  <c:v>0.04092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c:v>
                </c:pt>
                <c:pt idx="2">
                  <c:v>0.00582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449</c:v>
                </c:pt>
                <c:pt idx="1">
                  <c:v>0.000564</c:v>
                </c:pt>
                <c:pt idx="2">
                  <c:v>0.0022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4</c:v>
                </c:pt>
                <c:pt idx="1">
                  <c:v>0.000107</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62824</c:v>
                </c:pt>
                <c:pt idx="1">
                  <c:v>2.340615</c:v>
                </c:pt>
                <c:pt idx="2">
                  <c:v>1.58999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16898</c:v>
                </c:pt>
                <c:pt idx="1">
                  <c:v>0.190077</c:v>
                </c:pt>
                <c:pt idx="2">
                  <c:v>0.004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8925</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 Soleil</c:v>
                </c:pt>
              </c:strCache>
            </c:strRef>
          </c:tx>
          <c:spPr>
            <a:solidFill>
              <a:srgbClr val="D9D9D9"/>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24583</c:v>
                </c:pt>
                <c:pt idx="1">
                  <c:v>0.339199</c:v>
                </c:pt>
                <c:pt idx="2">
                  <c:v>0.064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Easyrinse</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0</c:v>
                </c:pt>
                <c:pt idx="2">
                  <c:v>0.0093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787</c:v>
                </c:pt>
                <c:pt idx="1">
                  <c:v>0.001024</c:v>
                </c:pt>
                <c:pt idx="2">
                  <c:v>0.00420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223</c:v>
                </c:pt>
                <c:pt idx="1">
                  <c:v>0.000427</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022296</c:v>
                </c:pt>
                <c:pt idx="1">
                  <c:v>2.436405</c:v>
                </c:pt>
                <c:pt idx="2">
                  <c:v>1.52968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98073</c:v>
                </c:pt>
                <c:pt idx="1">
                  <c:v>0.546671</c:v>
                </c:pt>
                <c:pt idx="2">
                  <c:v>0.378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3443</c:v>
                </c:pt>
                <c:pt idx="1">
                  <c:v>0.27511</c:v>
                </c:pt>
                <c:pt idx="2">
                  <c:v>0.2587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4332</c:v>
                </c:pt>
                <c:pt idx="1">
                  <c:v>0.080739</c:v>
                </c:pt>
                <c:pt idx="2">
                  <c:v>0.06027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1738</c:v>
                </c:pt>
                <c:pt idx="1">
                  <c:v>0.132274</c:v>
                </c:pt>
                <c:pt idx="2">
                  <c:v>0.13869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41818</c:v>
                </c:pt>
                <c:pt idx="1">
                  <c:v>0.242384</c:v>
                </c:pt>
                <c:pt idx="2">
                  <c:v>0.1289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55971</c:v>
                </c:pt>
                <c:pt idx="1">
                  <c:v>0.109165</c:v>
                </c:pt>
                <c:pt idx="2">
                  <c:v>0.02863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11618</c:v>
                </c:pt>
                <c:pt idx="1">
                  <c:v>0.018033</c:v>
                </c:pt>
                <c:pt idx="2">
                  <c:v>0.00809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0273</c:v>
                </c:pt>
                <c:pt idx="1">
                  <c:v>0.000116</c:v>
                </c:pt>
                <c:pt idx="2">
                  <c:v>0.00034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867682</c:v>
                </c:pt>
                <c:pt idx="1">
                  <c:v>0.993227</c:v>
                </c:pt>
                <c:pt idx="2">
                  <c:v>0.7668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6.4</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899154</c:v>
                </c:pt>
                <c:pt idx="1">
                  <c:v>6.435268</c:v>
                </c:pt>
                <c:pt idx="2">
                  <c:v>4.0203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a:solidFill>
                          <a:srgbClr val="FFFFFF"/>
                        </a:solidFill>
                      </a:rPr>
                      <a:t>4.0</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33403</c:v>
                </c:pt>
                <c:pt idx="1">
                  <c:v>3.263728</c:v>
                </c:pt>
                <c:pt idx="2">
                  <c:v>2.0797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9301</c:v>
                </c:pt>
                <c:pt idx="1">
                  <c:v>1.016866</c:v>
                </c:pt>
                <c:pt idx="2">
                  <c:v>0.9916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76473</c:v>
                </c:pt>
                <c:pt idx="1">
                  <c:v>0.309463</c:v>
                </c:pt>
                <c:pt idx="2">
                  <c:v>0.22849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58969</c:v>
                </c:pt>
                <c:pt idx="1">
                  <c:v>0.271027</c:v>
                </c:pt>
                <c:pt idx="2">
                  <c:v>0.23780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18356</c:v>
                </c:pt>
                <c:pt idx="1">
                  <c:v>0.369206</c:v>
                </c:pt>
                <c:pt idx="2">
                  <c:v>0.1906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63761</c:v>
                </c:pt>
                <c:pt idx="1">
                  <c:v>0.201352</c:v>
                </c:pt>
                <c:pt idx="2">
                  <c:v>0.0784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65786</c:v>
                </c:pt>
                <c:pt idx="1">
                  <c:v>0.082467</c:v>
                </c:pt>
                <c:pt idx="2">
                  <c:v>0.04342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281</c:v>
                </c:pt>
                <c:pt idx="1">
                  <c:v>0.000814</c:v>
                </c:pt>
                <c:pt idx="2">
                  <c:v>0.00312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9</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905429</c:v>
                </c:pt>
                <c:pt idx="1">
                  <c:v>1.969765</c:v>
                </c:pt>
                <c:pt idx="2">
                  <c:v>1.7199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3.6</a:t>
                    </a:r>
                  </a:p>
                </c:rich>
              </c:tx>
              <c:showLegendKey val="0"/>
              <c:showVal val="1"/>
              <c:showCatName val="0"/>
              <c:showSerName val="0"/>
              <c:showPercent val="0"/>
              <c:showBubbleSize val="0"/>
            </c:dLbl>
            <c:dLbl>
              <c:idx val="2"/>
              <c:tx>
                <c:rich>
                  <a:bodyPr/>
                  <a:lstStyle/>
                  <a:p>
                    <a:r>
                      <a:rPr>
                        <a:solidFill>
                          <a:srgbClr val="FFFFFF"/>
                        </a:solidFill>
                      </a:rPr>
                      <a:t>7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3.817558</c:v>
                </c:pt>
                <c:pt idx="1">
                  <c:v>103.590314</c:v>
                </c:pt>
                <c:pt idx="2">
                  <c:v>74.71286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9</a:t>
                    </a:r>
                  </a:p>
                </c:rich>
              </c:tx>
              <c:showLegendKey val="0"/>
              <c:showVal val="1"/>
              <c:showCatName val="0"/>
              <c:showSerName val="0"/>
              <c:showPercent val="0"/>
              <c:showBubbleSize val="0"/>
            </c:dLbl>
            <c:dLbl>
              <c:idx val="2"/>
              <c:tx>
                <c:rich>
                  <a:bodyPr/>
                  <a:lstStyle/>
                  <a:p>
                    <a:r>
                      <a:rPr>
                        <a:solidFill>
                          <a:srgbClr val="FFFFFF"/>
                        </a:solidFill>
                      </a:rPr>
                      <a:t>3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0.811561</c:v>
                </c:pt>
                <c:pt idx="1">
                  <c:v>51.852036</c:v>
                </c:pt>
                <c:pt idx="2">
                  <c:v>32.99875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2</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0.0181</c:v>
                </c:pt>
                <c:pt idx="1">
                  <c:v>19.223316</c:v>
                </c:pt>
                <c:pt idx="2">
                  <c:v>13.5407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40677</c:v>
                </c:pt>
                <c:pt idx="1">
                  <c:v>0.096937</c:v>
                </c:pt>
                <c:pt idx="2">
                  <c:v>0.47548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776768</c:v>
                </c:pt>
                <c:pt idx="1">
                  <c:v>0.282002</c:v>
                </c:pt>
                <c:pt idx="2">
                  <c:v>0.04218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94476</c:v>
                </c:pt>
                <c:pt idx="1">
                  <c:v>0.048718</c:v>
                </c:pt>
                <c:pt idx="2">
                  <c:v>0.00821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8.608404</c:v>
                </c:pt>
                <c:pt idx="1">
                  <c:v>5.228766</c:v>
                </c:pt>
                <c:pt idx="2">
                  <c:v>2.74032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4</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6.777604</c:v>
                </c:pt>
                <c:pt idx="1">
                  <c:v>6.441963</c:v>
                </c:pt>
                <c:pt idx="2">
                  <c:v>5.50720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582898</c:v>
                </c:pt>
                <c:pt idx="1">
                  <c:v>3.4805</c:v>
                </c:pt>
                <c:pt idx="2">
                  <c:v>1.7021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5</c:v>
                </c:pt>
                <c:pt idx="1">
                  <c:v>0.008703</c:v>
                </c:pt>
                <c:pt idx="2">
                  <c:v>0.00639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54.1</a:t>
                    </a:r>
                  </a:p>
                </c:rich>
              </c:tx>
              <c:showLegendKey val="0"/>
              <c:showVal val="1"/>
              <c:showCatName val="0"/>
              <c:showSerName val="0"/>
              <c:showPercent val="0"/>
              <c:showBubbleSize val="0"/>
            </c:dLbl>
            <c:dLbl>
              <c:idx val="1"/>
              <c:tx>
                <c:rich>
                  <a:bodyPr/>
                  <a:lstStyle/>
                  <a:p>
                    <a:r>
                      <a:rPr>
                        <a:solidFill>
                          <a:srgbClr val="FFFFFF"/>
                        </a:solidFill>
                      </a:rPr>
                      <a:t>268.1</a:t>
                    </a:r>
                  </a:p>
                </c:rich>
              </c:tx>
              <c:showLegendKey val="0"/>
              <c:showVal val="1"/>
              <c:showCatName val="0"/>
              <c:showSerName val="0"/>
              <c:showPercent val="0"/>
              <c:showBubbleSize val="0"/>
            </c:dLbl>
            <c:dLbl>
              <c:idx val="2"/>
              <c:tx>
                <c:rich>
                  <a:bodyPr/>
                  <a:lstStyle/>
                  <a:p>
                    <a:r>
                      <a:rPr>
                        <a:solidFill>
                          <a:srgbClr val="FFFFFF"/>
                        </a:solidFill>
                      </a:rPr>
                      <a:t>19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4.144911</c:v>
                </c:pt>
                <c:pt idx="1">
                  <c:v>268.08576</c:v>
                </c:pt>
                <c:pt idx="2">
                  <c:v>190.4329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71.2</a:t>
                    </a:r>
                  </a:p>
                </c:rich>
              </c:tx>
              <c:showLegendKey val="0"/>
              <c:showVal val="1"/>
              <c:showCatName val="0"/>
              <c:showSerName val="0"/>
              <c:showPercent val="0"/>
              <c:showBubbleSize val="0"/>
            </c:dLbl>
            <c:dLbl>
              <c:idx val="1"/>
              <c:tx>
                <c:rich>
                  <a:bodyPr/>
                  <a:lstStyle/>
                  <a:p>
                    <a:r>
                      <a:rPr>
                        <a:solidFill>
                          <a:srgbClr val="FFFFFF"/>
                        </a:solidFill>
                      </a:rPr>
                      <a:t>65.6</a:t>
                    </a:r>
                  </a:p>
                </c:rich>
              </c:tx>
              <c:showLegendKey val="0"/>
              <c:showVal val="1"/>
              <c:showCatName val="0"/>
              <c:showSerName val="0"/>
              <c:showPercent val="0"/>
              <c:showBubbleSize val="0"/>
            </c:dLbl>
            <c:dLbl>
              <c:idx val="2"/>
              <c:tx>
                <c:rich>
                  <a:bodyPr/>
                  <a:lstStyle/>
                  <a:p>
                    <a:r>
                      <a:rPr>
                        <a:solidFill>
                          <a:srgbClr val="FFFFFF"/>
                        </a:solidFill>
                      </a:rPr>
                      <a:t>4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1.167189</c:v>
                </c:pt>
                <c:pt idx="1">
                  <c:v>65.558507</c:v>
                </c:pt>
                <c:pt idx="2">
                  <c:v>40.84723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20.0</a:t>
                    </a:r>
                  </a:p>
                </c:rich>
              </c:tx>
              <c:showLegendKey val="0"/>
              <c:showVal val="1"/>
              <c:showCatName val="0"/>
              <c:showSerName val="0"/>
              <c:showPercent val="0"/>
              <c:showBubbleSize val="0"/>
            </c:dLbl>
            <c:dLbl>
              <c:idx val="1"/>
              <c:tx>
                <c:rich>
                  <a:bodyPr/>
                  <a:lstStyle/>
                  <a:p>
                    <a:r>
                      <a:rPr>
                        <a:solidFill>
                          <a:srgbClr val="FFFFFF"/>
                        </a:solidFill>
                      </a:rPr>
                      <a:t>21.1</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0.019233</c:v>
                </c:pt>
                <c:pt idx="1">
                  <c:v>21.054503</c:v>
                </c:pt>
                <c:pt idx="2">
                  <c:v>14.83830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74139</c:v>
                </c:pt>
                <c:pt idx="1">
                  <c:v>0.433295</c:v>
                </c:pt>
                <c:pt idx="2">
                  <c:v>1.36973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Intuition</c:v>
                </c:pt>
              </c:strCache>
            </c:strRef>
          </c:tx>
          <c:spPr>
            <a:solidFill>
              <a:srgbClr val="99C7C5"/>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56688</c:v>
                </c:pt>
                <c:pt idx="1">
                  <c:v>0.536074</c:v>
                </c:pt>
                <c:pt idx="2">
                  <c:v>0.05762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395892</c:v>
                </c:pt>
                <c:pt idx="1">
                  <c:v>0.100751</c:v>
                </c:pt>
                <c:pt idx="2">
                  <c:v>0.03239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8.1</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8.070341</c:v>
                </c:pt>
                <c:pt idx="1">
                  <c:v>4.567309</c:v>
                </c:pt>
                <c:pt idx="2">
                  <c:v>2.2439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6</a:t>
                    </a:r>
                  </a:p>
                </c:rich>
              </c:tx>
              <c:showLegendKey val="0"/>
              <c:showVal val="1"/>
              <c:showCatName val="0"/>
              <c:showSerName val="0"/>
              <c:showPercent val="0"/>
              <c:showBubbleSize val="0"/>
            </c:dLbl>
            <c:dLbl>
              <c:idx val="2"/>
              <c:tx>
                <c:rich>
                  <a:bodyPr/>
                  <a:lstStyle/>
                  <a:p>
                    <a:r>
                      <a:rPr>
                        <a:solidFill>
                          <a:srgbClr val="FFFFFF"/>
                        </a:solidFill>
                      </a:rPr>
                      <a:t>2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0.414172</c:v>
                </c:pt>
                <c:pt idx="1">
                  <c:v>36.610039</c:v>
                </c:pt>
                <c:pt idx="2">
                  <c:v>26.97907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9</a:t>
                    </a:r>
                  </a:p>
                </c:rich>
              </c:tx>
              <c:showLegendKey val="0"/>
              <c:showVal val="1"/>
              <c:showCatName val="0"/>
              <c:showSerName val="0"/>
              <c:showPercent val="0"/>
              <c:showBubbleSize val="0"/>
            </c:dLbl>
            <c:dLbl>
              <c:idx val="2"/>
              <c:tx>
                <c:rich>
                  <a:bodyPr/>
                  <a:lstStyle/>
                  <a:p>
                    <a:r>
                      <a:rPr>
                        <a:solidFill>
                          <a:srgbClr val="FFFFFF"/>
                        </a:solidFill>
                      </a:rPr>
                      <a:t>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004108</c:v>
                </c:pt>
                <c:pt idx="1">
                  <c:v>15.887441</c:v>
                </c:pt>
                <c:pt idx="2">
                  <c:v>8.4458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1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7.824914</c:v>
                </c:pt>
                <c:pt idx="1">
                  <c:v>20.083355</c:v>
                </c:pt>
                <c:pt idx="2">
                  <c:v>14.806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4</a:t>
                    </a:r>
                  </a:p>
                </c:rich>
              </c:tx>
              <c:showLegendKey val="0"/>
              <c:showVal val="1"/>
              <c:showCatName val="0"/>
              <c:showSerName val="0"/>
              <c:showPercent val="0"/>
              <c:showBubbleSize val="0"/>
            </c:dLbl>
            <c:dLbl>
              <c:idx val="2"/>
              <c:tx>
                <c:rich>
                  <a:bodyPr/>
                  <a:lstStyle/>
                  <a:p>
                    <a:r>
                      <a:rPr>
                        <a:solidFill>
                          <a:srgbClr val="FFFFFF"/>
                        </a:solidFill>
                      </a:rPr>
                      <a:t>1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409682</c:v>
                </c:pt>
                <c:pt idx="1">
                  <c:v>17.371636</c:v>
                </c:pt>
                <c:pt idx="2">
                  <c:v>16.6771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7</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5.403802</c:v>
                </c:pt>
                <c:pt idx="1">
                  <c:v>25.715728</c:v>
                </c:pt>
                <c:pt idx="2">
                  <c:v>18.91589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2</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3.103367</c:v>
                </c:pt>
                <c:pt idx="1">
                  <c:v>12.194739</c:v>
                </c:pt>
                <c:pt idx="2">
                  <c:v>6.54443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1</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3.041964</c:v>
                </c:pt>
                <c:pt idx="1">
                  <c:v>11.126065</c:v>
                </c:pt>
                <c:pt idx="2">
                  <c:v>6.89719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961074</c:v>
                </c:pt>
                <c:pt idx="1">
                  <c:v>2.255571</c:v>
                </c:pt>
                <c:pt idx="2">
                  <c:v>1.26962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295082</c:v>
                </c:pt>
                <c:pt idx="1">
                  <c:v>4.183496</c:v>
                </c:pt>
                <c:pt idx="2">
                  <c:v>3.01424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84516</c:v>
                </c:pt>
                <c:pt idx="1">
                  <c:v>4.065548</c:v>
                </c:pt>
                <c:pt idx="2">
                  <c:v>3.70266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09.8</a:t>
                    </a:r>
                  </a:p>
                </c:rich>
              </c:tx>
              <c:showLegendKey val="0"/>
              <c:showVal val="1"/>
              <c:showCatName val="0"/>
              <c:showSerName val="0"/>
              <c:showPercent val="0"/>
              <c:showBubbleSize val="0"/>
            </c:dLbl>
            <c:dLbl>
              <c:idx val="1"/>
              <c:tx>
                <c:rich>
                  <a:bodyPr/>
                  <a:lstStyle/>
                  <a:p>
                    <a:r>
                      <a:rPr>
                        <a:solidFill>
                          <a:srgbClr val="FFFFFF"/>
                        </a:solidFill>
                      </a:rPr>
                      <a:t>191.8</a:t>
                    </a:r>
                  </a:p>
                </c:rich>
              </c:tx>
              <c:showLegendKey val="0"/>
              <c:showVal val="1"/>
              <c:showCatName val="0"/>
              <c:showSerName val="0"/>
              <c:showPercent val="0"/>
              <c:showBubbleSize val="0"/>
            </c:dLbl>
            <c:dLbl>
              <c:idx val="2"/>
              <c:tx>
                <c:rich>
                  <a:bodyPr/>
                  <a:lstStyle/>
                  <a:p>
                    <a:r>
                      <a:rPr>
                        <a:solidFill>
                          <a:srgbClr val="FFFFFF"/>
                        </a:solidFill>
                      </a:rPr>
                      <a:t>14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09.792853</c:v>
                </c:pt>
                <c:pt idx="1">
                  <c:v>191.824349</c:v>
                </c:pt>
                <c:pt idx="2">
                  <c:v>142.4424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a:solidFill>
                          <a:srgbClr val="FFFFFF"/>
                        </a:solidFill>
                      </a:rPr>
                      <a:t>73.1</a:t>
                    </a:r>
                  </a:p>
                </c:rich>
              </c:tx>
              <c:showLegendKey val="0"/>
              <c:showVal val="1"/>
              <c:showCatName val="0"/>
              <c:showSerName val="0"/>
              <c:showPercent val="0"/>
              <c:showBubbleSize val="0"/>
            </c:dLbl>
            <c:dLbl>
              <c:idx val="1"/>
              <c:tx>
                <c:rich>
                  <a:bodyPr/>
                  <a:lstStyle/>
                  <a:p>
                    <a:r>
                      <a:rPr>
                        <a:solidFill>
                          <a:srgbClr val="FFFFFF"/>
                        </a:solidFill>
                      </a:rPr>
                      <a:t>70.4</a:t>
                    </a:r>
                  </a:p>
                </c:rich>
              </c:tx>
              <c:showLegendKey val="0"/>
              <c:showVal val="1"/>
              <c:showCatName val="0"/>
              <c:showSerName val="0"/>
              <c:showPercent val="0"/>
              <c:showBubbleSize val="0"/>
            </c:dLbl>
            <c:dLbl>
              <c:idx val="2"/>
              <c:tx>
                <c:rich>
                  <a:bodyPr/>
                  <a:lstStyle/>
                  <a:p>
                    <a:r>
                      <a:rPr>
                        <a:solidFill>
                          <a:srgbClr val="FFFFFF"/>
                        </a:solidFill>
                      </a:rPr>
                      <a:t>3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3.121317</c:v>
                </c:pt>
                <c:pt idx="1">
                  <c:v>70.369858</c:v>
                </c:pt>
                <c:pt idx="2">
                  <c:v>38.23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56.4</a:t>
                    </a:r>
                  </a:p>
                </c:rich>
              </c:tx>
              <c:showLegendKey val="0"/>
              <c:showVal val="1"/>
              <c:showCatName val="0"/>
              <c:showSerName val="0"/>
              <c:showPercent val="0"/>
              <c:showBubbleSize val="0"/>
            </c:dLbl>
            <c:dLbl>
              <c:idx val="1"/>
              <c:tx>
                <c:rich>
                  <a:bodyPr/>
                  <a:lstStyle/>
                  <a:p>
                    <a:r>
                      <a:rPr>
                        <a:solidFill>
                          <a:srgbClr val="FFFFFF"/>
                        </a:solidFill>
                      </a:rPr>
                      <a:t>62.5</a:t>
                    </a:r>
                  </a:p>
                </c:rich>
              </c:tx>
              <c:showLegendKey val="0"/>
              <c:showVal val="1"/>
              <c:showCatName val="0"/>
              <c:showSerName val="0"/>
              <c:showPercent val="0"/>
              <c:showBubbleSize val="0"/>
            </c:dLbl>
            <c:dLbl>
              <c:idx val="2"/>
              <c:tx>
                <c:rich>
                  <a:bodyPr/>
                  <a:lstStyle/>
                  <a:p>
                    <a:r>
                      <a:rPr>
                        <a:solidFill>
                          <a:srgbClr val="FFFFFF"/>
                        </a:solidFill>
                      </a:rPr>
                      <a:t>4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6.373794</c:v>
                </c:pt>
                <c:pt idx="1">
                  <c:v>62.468341</c:v>
                </c:pt>
                <c:pt idx="2">
                  <c:v>43.8473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a:solidFill>
                          <a:srgbClr val="FFFFFF"/>
                        </a:solidFill>
                      </a:rPr>
                      <a:t>27.8</a:t>
                    </a:r>
                  </a:p>
                </c:rich>
              </c:tx>
              <c:showLegendKey val="0"/>
              <c:showVal val="1"/>
              <c:showCatName val="0"/>
              <c:showSerName val="0"/>
              <c:showPercent val="0"/>
              <c:showBubbleSize val="0"/>
            </c:dLbl>
            <c:dLbl>
              <c:idx val="1"/>
              <c:tx>
                <c:rich>
                  <a:bodyPr/>
                  <a:lstStyle/>
                  <a:p>
                    <a:r>
                      <a:rPr>
                        <a:solidFill>
                          <a:srgbClr val="FFFFFF"/>
                        </a:solidFill>
                      </a:rPr>
                      <a:t>53.6</a:t>
                    </a:r>
                  </a:p>
                </c:rich>
              </c:tx>
              <c:showLegendKey val="0"/>
              <c:showVal val="1"/>
              <c:showCatName val="0"/>
              <c:showSerName val="0"/>
              <c:showPercent val="0"/>
              <c:showBubbleSize val="0"/>
            </c:dLbl>
            <c:dLbl>
              <c:idx val="2"/>
              <c:tx>
                <c:rich>
                  <a:bodyPr/>
                  <a:lstStyle/>
                  <a:p>
                    <a:r>
                      <a:rPr>
                        <a:solidFill>
                          <a:srgbClr val="FFFFFF"/>
                        </a:solidFill>
                      </a:rPr>
                      <a:t>4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824811</c:v>
                </c:pt>
                <c:pt idx="1">
                  <c:v>53.573916</c:v>
                </c:pt>
                <c:pt idx="2">
                  <c:v>46.0795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bg Pl</c:v>
                </c:pt>
              </c:strCache>
            </c:strRef>
          </c:tx>
          <c:spPr>
            <a:solidFill>
              <a:srgbClr val="7F7F7F"/>
            </a:solidFill>
            <a:ln>
              <a:solidFill>
                <a:schemeClr val="bg1"/>
              </a:solidFill>
            </a:ln>
            <a:effectLst/>
          </c:spPr>
          <c:invertIfNegative val="0"/>
          <c:dLbls>
            <c:dLbl>
              <c:idx val="0"/>
              <c:tx>
                <c:rich>
                  <a:bodyPr/>
                  <a:lstStyle/>
                  <a:p>
                    <a:r>
                      <a:rPr>
                        <a:solidFill>
                          <a:srgbClr val="FFFFFF"/>
                        </a:solidFill>
                      </a:rPr>
                      <a:t>40.8</a:t>
                    </a:r>
                  </a:p>
                </c:rich>
              </c:tx>
              <c:showLegendKey val="0"/>
              <c:showVal val="1"/>
              <c:showCatName val="0"/>
              <c:showSerName val="0"/>
              <c:showPercent val="0"/>
              <c:showBubbleSize val="0"/>
            </c:dLbl>
            <c:dLbl>
              <c:idx val="1"/>
              <c:tx>
                <c:rich>
                  <a:bodyPr/>
                  <a:lstStyle/>
                  <a:p>
                    <a:r>
                      <a:rPr>
                        <a:solidFill>
                          <a:srgbClr val="FFFFFF"/>
                        </a:solidFill>
                      </a:rPr>
                      <a:t>43.7</a:t>
                    </a:r>
                  </a:p>
                </c:rich>
              </c:tx>
              <c:showLegendKey val="0"/>
              <c:showVal val="1"/>
              <c:showCatName val="0"/>
              <c:showSerName val="0"/>
              <c:showPercent val="0"/>
              <c:showBubbleSize val="0"/>
            </c:dLbl>
            <c:dLbl>
              <c:idx val="2"/>
              <c:tx>
                <c:rich>
                  <a:bodyPr/>
                  <a:lstStyle/>
                  <a:p>
                    <a:r>
                      <a:rPr>
                        <a:solidFill>
                          <a:srgbClr val="FFFFFF"/>
                        </a:solidFill>
                      </a:rPr>
                      <a:t>3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0.752509</c:v>
                </c:pt>
                <c:pt idx="1">
                  <c:v>43.693937</c:v>
                </c:pt>
                <c:pt idx="2">
                  <c:v>33.12574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34.6</a:t>
                    </a:r>
                  </a:p>
                </c:rich>
              </c:tx>
              <c:showLegendKey val="0"/>
              <c:showVal val="1"/>
              <c:showCatName val="0"/>
              <c:showSerName val="0"/>
              <c:showPercent val="0"/>
              <c:showBubbleSize val="0"/>
            </c:dLbl>
            <c:dLbl>
              <c:idx val="1"/>
              <c:tx>
                <c:rich>
                  <a:bodyPr/>
                  <a:lstStyle/>
                  <a:p>
                    <a:r>
                      <a:rPr>
                        <a:solidFill>
                          <a:srgbClr val="FFFFFF"/>
                        </a:solidFill>
                      </a:rPr>
                      <a:t>33.6</a:t>
                    </a:r>
                  </a:p>
                </c:rich>
              </c:tx>
              <c:showLegendKey val="0"/>
              <c:showVal val="1"/>
              <c:showCatName val="0"/>
              <c:showSerName val="0"/>
              <c:showPercent val="0"/>
              <c:showBubbleSize val="0"/>
            </c:dLbl>
            <c:dLbl>
              <c:idx val="2"/>
              <c:tx>
                <c:rich>
                  <a:bodyPr/>
                  <a:lstStyle/>
                  <a:p>
                    <a:r>
                      <a:rPr>
                        <a:solidFill>
                          <a:srgbClr val="FFFFFF"/>
                        </a:solidFill>
                      </a:rPr>
                      <a:t>2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4.645471</c:v>
                </c:pt>
                <c:pt idx="1">
                  <c:v>33.624423</c:v>
                </c:pt>
                <c:pt idx="2">
                  <c:v>20.8216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35.9</a:t>
                    </a:r>
                  </a:p>
                </c:rich>
              </c:tx>
              <c:showLegendKey val="0"/>
              <c:showVal val="1"/>
              <c:showCatName val="0"/>
              <c:showSerName val="0"/>
              <c:showPercent val="0"/>
              <c:showBubbleSize val="0"/>
            </c:dLbl>
            <c:dLbl>
              <c:idx val="1"/>
              <c:tx>
                <c:rich>
                  <a:bodyPr/>
                  <a:lstStyle/>
                  <a:p>
                    <a:r>
                      <a:rPr>
                        <a:solidFill>
                          <a:srgbClr val="FFFFFF"/>
                        </a:solidFill>
                      </a:rPr>
                      <a:t>30.2</a:t>
                    </a:r>
                  </a:p>
                </c:rich>
              </c:tx>
              <c:showLegendKey val="0"/>
              <c:showVal val="1"/>
              <c:showCatName val="0"/>
              <c:showSerName val="0"/>
              <c:showPercent val="0"/>
              <c:showBubbleSize val="0"/>
            </c:dLbl>
            <c:dLbl>
              <c:idx val="2"/>
              <c:tx>
                <c:rich>
                  <a:bodyPr/>
                  <a:lstStyle/>
                  <a:p>
                    <a:r>
                      <a:rPr>
                        <a:solidFill>
                          <a:srgbClr val="FFFFFF"/>
                        </a:solidFill>
                      </a:rPr>
                      <a:t>1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35.87362</c:v>
                </c:pt>
                <c:pt idx="1">
                  <c:v>30.23155</c:v>
                </c:pt>
                <c:pt idx="2">
                  <c:v>18.1860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6.0</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6.007522</c:v>
                </c:pt>
                <c:pt idx="1">
                  <c:v>6.200196</c:v>
                </c:pt>
                <c:pt idx="2">
                  <c:v>3.40236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6.2</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4.552183</c:v>
                </c:pt>
                <c:pt idx="1">
                  <c:v>6.224637</c:v>
                </c:pt>
                <c:pt idx="2">
                  <c:v>4.38126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4.278692</c:v>
                </c:pt>
                <c:pt idx="1">
                  <c:v>12.117804</c:v>
                </c:pt>
                <c:pt idx="2">
                  <c:v>11.4503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em Pl</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69669</c:v>
                </c:pt>
                <c:pt idx="1">
                  <c:v>0.269728</c:v>
                </c:pt>
                <c:pt idx="2">
                  <c:v>0.17868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22505</c:v>
                </c:pt>
                <c:pt idx="1">
                  <c:v>0.673533</c:v>
                </c:pt>
                <c:pt idx="2">
                  <c:v>0.41499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em Pl</c:v>
                </c:pt>
              </c:strCache>
            </c:strRef>
          </c:tx>
          <c:spPr>
            <a:solidFill>
              <a:srgbClr val="D9D9D9"/>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4617</c:v>
                </c:pt>
                <c:pt idx="1">
                  <c:v>0.514657</c:v>
                </c:pt>
                <c:pt idx="2">
                  <c:v>0.3263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1.6</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618918</c:v>
                </c:pt>
                <c:pt idx="1">
                  <c:v>1.410576</c:v>
                </c:pt>
                <c:pt idx="2">
                  <c:v>0.7646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5</a:t>
                    </a:r>
                  </a:p>
                </c:rich>
              </c:tx>
              <c:showLegendKey val="0"/>
              <c:showVal val="1"/>
              <c:showCatName val="0"/>
              <c:showSerName val="0"/>
              <c:showPercent val="0"/>
              <c:showBubbleSize val="0"/>
            </c:dLbl>
            <c:dLbl>
              <c:idx val="2"/>
              <c:tx>
                <c:rich>
                  <a:bodyPr/>
                  <a:lstStyle/>
                  <a:p>
                    <a:r>
                      <a:rPr>
                        <a:solidFill>
                          <a:srgbClr val="FFFFFF"/>
                        </a:solidFill>
                      </a:rPr>
                      <a:t>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179256</c:v>
                </c:pt>
                <c:pt idx="1">
                  <c:v>11.486394</c:v>
                </c:pt>
                <c:pt idx="2">
                  <c:v>8.759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3</a:t>
                    </a:r>
                  </a:p>
                </c:rich>
              </c:tx>
              <c:showLegendKey val="0"/>
              <c:showVal val="1"/>
              <c:showCatName val="0"/>
              <c:showSerName val="0"/>
              <c:showPercent val="0"/>
              <c:showBubbleSize val="0"/>
            </c:dLbl>
            <c:dLbl>
              <c:idx val="2"/>
              <c:tx>
                <c:rich>
                  <a:bodyPr/>
                  <a:lstStyle/>
                  <a:p>
                    <a:r>
                      <a:rPr>
                        <a:solidFill>
                          <a:srgbClr val="FFFFFF"/>
                        </a:solidFill>
                      </a:rPr>
                      <a:t>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45991</c:v>
                </c:pt>
                <c:pt idx="1">
                  <c:v>8.252539</c:v>
                </c:pt>
                <c:pt idx="2">
                  <c:v>5.0297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75904</c:v>
                </c:pt>
                <c:pt idx="1">
                  <c:v>1.242076</c:v>
                </c:pt>
                <c:pt idx="2">
                  <c:v>1.1563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57324</c:v>
                </c:pt>
                <c:pt idx="1">
                  <c:v>0.463753</c:v>
                </c:pt>
                <c:pt idx="2">
                  <c:v>0.29149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963619</c:v>
                </c:pt>
                <c:pt idx="1">
                  <c:v>0.968747</c:v>
                </c:pt>
                <c:pt idx="2">
                  <c:v>0.49078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6.6</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557489</c:v>
                </c:pt>
                <c:pt idx="1">
                  <c:v>15.597547</c:v>
                </c:pt>
                <c:pt idx="2">
                  <c:v>13.18951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7.5</a:t>
                    </a:r>
                  </a:p>
                </c:rich>
              </c:tx>
              <c:showLegendKey val="0"/>
              <c:showVal val="1"/>
              <c:showCatName val="0"/>
              <c:showSerName val="0"/>
              <c:showPercent val="0"/>
              <c:showBubbleSize val="0"/>
            </c:dLbl>
            <c:dLbl>
              <c:idx val="1"/>
              <c:tx>
                <c:rich>
                  <a:bodyPr/>
                  <a:lstStyle/>
                  <a:p>
                    <a:r>
                      <a:rPr>
                        <a:solidFill>
                          <a:srgbClr val="FFFFFF"/>
                        </a:solidFill>
                      </a:rPr>
                      <a:t>7.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453033</c:v>
                </c:pt>
                <c:pt idx="1">
                  <c:v>7.944252</c:v>
                </c:pt>
                <c:pt idx="2">
                  <c:v>4.2030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0965</c:v>
                </c:pt>
                <c:pt idx="1">
                  <c:v>0.00708</c:v>
                </c:pt>
                <c:pt idx="2">
                  <c:v>0.0045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0073</c:v>
                </c:pt>
                <c:pt idx="1">
                  <c:v>0.814589</c:v>
                </c:pt>
                <c:pt idx="2">
                  <c:v>0.9651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6</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3302</c:v>
                </c:pt>
                <c:pt idx="1">
                  <c:v>5.584507</c:v>
                </c:pt>
                <c:pt idx="2">
                  <c:v>4.3263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76254</c:v>
                </c:pt>
                <c:pt idx="1">
                  <c:v>1.018009</c:v>
                </c:pt>
                <c:pt idx="2">
                  <c:v>0.7729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ilk Effect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9319</c:v>
                </c:pt>
                <c:pt idx="1">
                  <c:v>0.101609</c:v>
                </c:pt>
                <c:pt idx="2">
                  <c:v>0.05719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3095</c:v>
                </c:pt>
                <c:pt idx="1">
                  <c:v>0.023666</c:v>
                </c:pt>
                <c:pt idx="2">
                  <c:v>0.0085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59125</c:v>
                </c:pt>
                <c:pt idx="1">
                  <c:v>0.289592</c:v>
                </c:pt>
                <c:pt idx="2">
                  <c:v>0.2524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147124</c:v>
                </c:pt>
                <c:pt idx="1">
                  <c:v>3.292975</c:v>
                </c:pt>
                <c:pt idx="2">
                  <c:v>3.3632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ilky Touch</c:v>
                </c:pt>
              </c:strCache>
            </c:strRef>
          </c:tx>
          <c:spPr>
            <a:solidFill>
              <a:srgbClr val="BFBFBF"/>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513003</c:v>
                </c:pt>
                <c:pt idx="1">
                  <c:v>1.454243</c:v>
                </c:pt>
                <c:pt idx="2">
                  <c:v>1.1598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942238</c:v>
                </c:pt>
                <c:pt idx="1">
                  <c:v>0.863827</c:v>
                </c:pt>
                <c:pt idx="2">
                  <c:v>0.66502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ilk Effects</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23126</c:v>
                </c:pt>
                <c:pt idx="1">
                  <c:v>0.186641</c:v>
                </c:pt>
                <c:pt idx="2">
                  <c:v>0.10798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4219</c:v>
                </c:pt>
                <c:pt idx="1">
                  <c:v>0.016635</c:v>
                </c:pt>
                <c:pt idx="2">
                  <c:v>0.0079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99764</c:v>
                </c:pt>
                <c:pt idx="1">
                  <c:v>0.160816</c:v>
                </c:pt>
                <c:pt idx="2">
                  <c:v>0.17561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081852</c:v>
                </c:pt>
                <c:pt idx="1">
                  <c:v>8.659937</c:v>
                </c:pt>
                <c:pt idx="2">
                  <c:v>6.7771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683517</c:v>
                </c:pt>
                <c:pt idx="1">
                  <c:v>4.593607</c:v>
                </c:pt>
                <c:pt idx="2">
                  <c:v>2.9230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0687</c:v>
                </c:pt>
                <c:pt idx="1">
                  <c:v>0.011276</c:v>
                </c:pt>
                <c:pt idx="2">
                  <c:v>0.0694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6025</c:v>
                </c:pt>
                <c:pt idx="1">
                  <c:v>0.020997</c:v>
                </c:pt>
                <c:pt idx="2">
                  <c:v>0.01846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5229</c:v>
                </c:pt>
                <c:pt idx="1">
                  <c:v>0.006654</c:v>
                </c:pt>
                <c:pt idx="2">
                  <c:v>0.0069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66624</c:v>
                </c:pt>
                <c:pt idx="1">
                  <c:v>0.054508</c:v>
                </c:pt>
                <c:pt idx="2">
                  <c:v>0.0224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1.5</a:t>
                    </a:r>
                  </a:p>
                </c:rich>
              </c:tx>
              <c:showLegendKey val="0"/>
              <c:showVal val="1"/>
              <c:showCatName val="0"/>
              <c:showSerName val="0"/>
              <c:showPercent val="0"/>
              <c:showBubbleSize val="0"/>
            </c:dLbl>
            <c:dLbl>
              <c:idx val="1"/>
              <c:tx>
                <c:rich>
                  <a:bodyPr/>
                  <a:lstStyle/>
                  <a:p>
                    <a:r>
                      <a:rPr>
                        <a:solidFill>
                          <a:srgbClr val="FFFFFF"/>
                        </a:solidFill>
                      </a:rPr>
                      <a:t>24.4</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1.478386</c:v>
                </c:pt>
                <c:pt idx="1">
                  <c:v>24.385117</c:v>
                </c:pt>
                <c:pt idx="2">
                  <c:v>18.58619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174833</c:v>
                </c:pt>
                <c:pt idx="1">
                  <c:v>5.081289</c:v>
                </c:pt>
                <c:pt idx="2">
                  <c:v>3.30280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5753</c:v>
                </c:pt>
                <c:pt idx="1">
                  <c:v>0.021707</c:v>
                </c:pt>
                <c:pt idx="2">
                  <c:v>0.15964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1696</c:v>
                </c:pt>
                <c:pt idx="1">
                  <c:v>0.041486</c:v>
                </c:pt>
                <c:pt idx="2">
                  <c:v>0.03752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9989</c:v>
                </c:pt>
                <c:pt idx="1">
                  <c:v>0.026592</c:v>
                </c:pt>
                <c:pt idx="2">
                  <c:v>0.03042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01442</c:v>
                </c:pt>
                <c:pt idx="1">
                  <c:v>0.179303</c:v>
                </c:pt>
                <c:pt idx="2">
                  <c:v>0.07906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401652</c:v>
                </c:pt>
                <c:pt idx="1">
                  <c:v>5.044431</c:v>
                </c:pt>
                <c:pt idx="2">
                  <c:v>3.2517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905434</c:v>
                </c:pt>
                <c:pt idx="1">
                  <c:v>3.934728</c:v>
                </c:pt>
                <c:pt idx="2">
                  <c:v>2.80396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75904</c:v>
                </c:pt>
                <c:pt idx="1">
                  <c:v>1.242076</c:v>
                </c:pt>
                <c:pt idx="2">
                  <c:v>0.9322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3057</c:v>
                </c:pt>
                <c:pt idx="1">
                  <c:v>0.065977</c:v>
                </c:pt>
                <c:pt idx="2">
                  <c:v>0.0352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192767</c:v>
                </c:pt>
                <c:pt idx="1">
                  <c:v>0.831508</c:v>
                </c:pt>
                <c:pt idx="2">
                  <c:v>0.4458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aisy</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9167</c:v>
                </c:pt>
                <c:pt idx="1">
                  <c:v>1.247811</c:v>
                </c:pt>
                <c:pt idx="2">
                  <c:v>0.74710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2295</c:v>
                </c:pt>
                <c:pt idx="1">
                  <c:v>0.000204</c:v>
                </c:pt>
                <c:pt idx="2">
                  <c:v>0.0</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1473</c:v>
                </c:pt>
                <c:pt idx="1">
                  <c:v>0.019115</c:v>
                </c:pt>
                <c:pt idx="2">
                  <c:v>0.0167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155627</c:v>
                </c:pt>
                <c:pt idx="1">
                  <c:v>2.183094</c:v>
                </c:pt>
                <c:pt idx="2">
                  <c:v>2.0779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aisy</c:v>
                </c:pt>
              </c:strCache>
            </c:strRef>
          </c:tx>
          <c:spPr>
            <a:solidFill>
              <a:srgbClr val="BFBFBF"/>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526295</c:v>
                </c:pt>
                <c:pt idx="1">
                  <c:v>1.413345</c:v>
                </c:pt>
                <c:pt idx="2">
                  <c:v>0.90079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188</c:v>
                </c:pt>
                <c:pt idx="1">
                  <c:v>0.000162</c:v>
                </c:pt>
                <c:pt idx="2">
                  <c:v>0.0</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3301</c:v>
                </c:pt>
                <c:pt idx="1">
                  <c:v>0.081016</c:v>
                </c:pt>
                <c:pt idx="2">
                  <c:v>0.0705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2.4</a:t>
                    </a:r>
                  </a:p>
                </c:rich>
              </c:tx>
              <c:showLegendKey val="0"/>
              <c:showVal val="1"/>
              <c:showCatName val="0"/>
              <c:showSerName val="0"/>
              <c:showPercent val="0"/>
              <c:showBubbleSize val="0"/>
            </c:dLbl>
            <c:dLbl>
              <c:idx val="1"/>
              <c:tx>
                <c:rich>
                  <a:bodyPr/>
                  <a:lstStyle/>
                  <a:p>
                    <a:r>
                      <a:rPr>
                        <a:solidFill>
                          <a:srgbClr val="FFFFFF"/>
                        </a:solidFill>
                      </a:rPr>
                      <a:t>31.1</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421707</c:v>
                </c:pt>
                <c:pt idx="1">
                  <c:v>31.113105</c:v>
                </c:pt>
                <c:pt idx="2">
                  <c:v>19.5485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8.3</a:t>
                    </a:r>
                  </a:p>
                </c:rich>
              </c:tx>
              <c:showLegendKey val="0"/>
              <c:showVal val="1"/>
              <c:showCatName val="0"/>
              <c:showSerName val="0"/>
              <c:showPercent val="0"/>
              <c:showBubbleSize val="0"/>
            </c:dLbl>
            <c:dLbl>
              <c:idx val="1"/>
              <c:tx>
                <c:rich>
                  <a:bodyPr/>
                  <a:lstStyle/>
                  <a:p>
                    <a:r>
                      <a:rPr>
                        <a:solidFill>
                          <a:srgbClr val="FFFFFF"/>
                        </a:solidFill>
                      </a:rPr>
                      <a:t>19.5</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327892</c:v>
                </c:pt>
                <c:pt idx="1">
                  <c:v>19.484647</c:v>
                </c:pt>
                <c:pt idx="2">
                  <c:v>12.462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599488</c:v>
                </c:pt>
                <c:pt idx="1">
                  <c:v>4.751111</c:v>
                </c:pt>
                <c:pt idx="2">
                  <c:v>3.3977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354</c:v>
                </c:pt>
                <c:pt idx="1">
                  <c:v>0.11462</c:v>
                </c:pt>
                <c:pt idx="2">
                  <c:v>0.0853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25702</c:v>
                </c:pt>
                <c:pt idx="1">
                  <c:v>0.035706</c:v>
                </c:pt>
                <c:pt idx="2">
                  <c:v>0.024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Noxzema Base</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19889</c:v>
                </c:pt>
                <c:pt idx="1">
                  <c:v>0.000244</c:v>
                </c:pt>
                <c:pt idx="2">
                  <c:v>1.5e-0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12146</c:v>
                </c:pt>
                <c:pt idx="2">
                  <c:v>0.0123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62815</c:v>
                </c:pt>
                <c:pt idx="1">
                  <c:v>0.97343</c:v>
                </c:pt>
                <c:pt idx="2">
                  <c:v>0.4681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Noxzema Base</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22278</c:v>
                </c:pt>
                <c:pt idx="1">
                  <c:v>0.000323</c:v>
                </c:pt>
                <c:pt idx="2">
                  <c:v>2.2e-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616</c:v>
                </c:pt>
                <c:pt idx="2">
                  <c:v>0.0064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41878</c:v>
                </c:pt>
                <c:pt idx="1">
                  <c:v>4.681844</c:v>
                </c:pt>
                <c:pt idx="2">
                  <c:v>2.7686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87299</c:v>
                </c:pt>
                <c:pt idx="1">
                  <c:v>2.534389</c:v>
                </c:pt>
                <c:pt idx="2">
                  <c:v>1.5949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048933</c:v>
                </c:pt>
                <c:pt idx="1">
                  <c:v>2.695697</c:v>
                </c:pt>
                <c:pt idx="2">
                  <c:v>1.91843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960313</c:v>
                </c:pt>
                <c:pt idx="1">
                  <c:v>0.898084</c:v>
                </c:pt>
                <c:pt idx="2">
                  <c:v>0.716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769268</c:v>
                </c:pt>
                <c:pt idx="1">
                  <c:v>2.677251</c:v>
                </c:pt>
                <c:pt idx="2">
                  <c:v>1.83868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974791</c:v>
                </c:pt>
                <c:pt idx="1">
                  <c:v>1.046156</c:v>
                </c:pt>
                <c:pt idx="2">
                  <c:v>0.647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e-06</c:v>
                </c:pt>
                <c:pt idx="1">
                  <c:v>1.23133</c:v>
                </c:pt>
                <c:pt idx="2">
                  <c:v>1.19904</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39847</c:v>
                </c:pt>
                <c:pt idx="1">
                  <c:v>0.363809</c:v>
                </c:pt>
                <c:pt idx="2">
                  <c:v>0.27771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772159</c:v>
                </c:pt>
                <c:pt idx="1">
                  <c:v>0.108108</c:v>
                </c:pt>
                <c:pt idx="2">
                  <c:v>0.00308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537602</c:v>
                </c:pt>
                <c:pt idx="1">
                  <c:v>0.646883</c:v>
                </c:pt>
                <c:pt idx="2">
                  <c:v>0.48924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5.1</a:t>
                    </a:r>
                  </a:p>
                </c:rich>
              </c:tx>
              <c:showLegendKey val="0"/>
              <c:showVal val="1"/>
              <c:showCatName val="0"/>
              <c:showSerName val="0"/>
              <c:showPercent val="0"/>
              <c:showBubbleSize val="0"/>
            </c:dLbl>
            <c:dLbl>
              <c:idx val="1"/>
              <c:tx>
                <c:rich>
                  <a:bodyPr/>
                  <a:lstStyle/>
                  <a:p>
                    <a:r>
                      <a:rPr>
                        <a:solidFill>
                          <a:srgbClr val="FFFFFF"/>
                        </a:solidFill>
                      </a:rPr>
                      <a:t>9.0</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094079</c:v>
                </c:pt>
                <c:pt idx="1">
                  <c:v>9.037836</c:v>
                </c:pt>
                <c:pt idx="2">
                  <c:v>5.34371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73351</c:v>
                </c:pt>
                <c:pt idx="1">
                  <c:v>4.599248</c:v>
                </c:pt>
                <c:pt idx="2">
                  <c:v>2.853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075856</c:v>
                </c:pt>
                <c:pt idx="1">
                  <c:v>2.790203</c:v>
                </c:pt>
                <c:pt idx="2">
                  <c:v>1.9691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535795</c:v>
                </c:pt>
                <c:pt idx="1">
                  <c:v>2.552904</c:v>
                </c:pt>
                <c:pt idx="2">
                  <c:v>2.14457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66304</c:v>
                </c:pt>
                <c:pt idx="1">
                  <c:v>2.486406</c:v>
                </c:pt>
                <c:pt idx="2">
                  <c:v>1.76985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913346</c:v>
                </c:pt>
                <c:pt idx="1">
                  <c:v>1.534463</c:v>
                </c:pt>
                <c:pt idx="2">
                  <c:v>0.95172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e-06</c:v>
                </c:pt>
                <c:pt idx="1">
                  <c:v>2.043435</c:v>
                </c:pt>
                <c:pt idx="2">
                  <c:v>1.97909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184054</c:v>
                </c:pt>
                <c:pt idx="1">
                  <c:v>1.314684</c:v>
                </c:pt>
                <c:pt idx="2">
                  <c:v>1.01181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217349</c:v>
                </c:pt>
                <c:pt idx="1">
                  <c:v>0.214898</c:v>
                </c:pt>
                <c:pt idx="2">
                  <c:v>0.0073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69657</c:v>
                </c:pt>
                <c:pt idx="1">
                  <c:v>0.998771</c:v>
                </c:pt>
                <c:pt idx="2">
                  <c:v>0.9000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2324</c:v>
                </c:pt>
                <c:pt idx="1">
                  <c:v>0.602979</c:v>
                </c:pt>
                <c:pt idx="2">
                  <c:v>0.3284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7654</c:v>
                </c:pt>
                <c:pt idx="1">
                  <c:v>0.305364</c:v>
                </c:pt>
                <c:pt idx="2">
                  <c:v>0.1632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15529</c:v>
                </c:pt>
                <c:pt idx="1">
                  <c:v>0.451136</c:v>
                </c:pt>
                <c:pt idx="2">
                  <c:v>0.3132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65909</c:v>
                </c:pt>
                <c:pt idx="1">
                  <c:v>0.180703</c:v>
                </c:pt>
                <c:pt idx="2">
                  <c:v>0.1186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65957</c:v>
                </c:pt>
                <c:pt idx="1">
                  <c:v>0.35578</c:v>
                </c:pt>
                <c:pt idx="2">
                  <c:v>0.2283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0967</c:v>
                </c:pt>
                <c:pt idx="1">
                  <c:v>0.090624</c:v>
                </c:pt>
                <c:pt idx="2">
                  <c:v>0.0808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0306</c:v>
                </c:pt>
                <c:pt idx="1">
                  <c:v>0.255896</c:v>
                </c:pt>
                <c:pt idx="2">
                  <c:v>0.1735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lio Design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99545</c:v>
                </c:pt>
                <c:pt idx="2">
                  <c:v>0.10404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79768</c:v>
                </c:pt>
                <c:pt idx="1">
                  <c:v>0.00865</c:v>
                </c:pt>
                <c:pt idx="2">
                  <c:v>0.000234</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31178</c:v>
                </c:pt>
                <c:pt idx="1">
                  <c:v>0.0467</c:v>
                </c:pt>
                <c:pt idx="2">
                  <c:v>0.03060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e-05</c:v>
                </c:pt>
                <c:pt idx="1">
                  <c:v>1.1e-05</c:v>
                </c:pt>
                <c:pt idx="2">
                  <c:v>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e-05</c:v>
                </c:pt>
                <c:pt idx="1">
                  <c:v>2.2e-05</c:v>
                </c:pt>
                <c:pt idx="2">
                  <c:v>2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23054</c:v>
                </c:pt>
                <c:pt idx="1">
                  <c:v>0.702264</c:v>
                </c:pt>
                <c:pt idx="2">
                  <c:v>0.09236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0.56902</c:v>
                </c:pt>
                <c:pt idx="2">
                  <c:v>0.0054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87683</c:v>
                </c:pt>
                <c:pt idx="1">
                  <c:v>0.014158</c:v>
                </c:pt>
                <c:pt idx="2">
                  <c:v>1e-0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e-06</c:v>
                </c:pt>
                <c:pt idx="1">
                  <c:v>0.0</c:v>
                </c:pt>
                <c:pt idx="2">
                  <c:v>0.0</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2126</c:v>
                </c:pt>
                <c:pt idx="1">
                  <c:v>1.167681</c:v>
                </c:pt>
                <c:pt idx="2">
                  <c:v>0.6345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94629</c:v>
                </c:pt>
                <c:pt idx="1">
                  <c:v>0.550233</c:v>
                </c:pt>
                <c:pt idx="2">
                  <c:v>0.292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flect O Corp</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20172</c:v>
                </c:pt>
                <c:pt idx="1">
                  <c:v>0.464172</c:v>
                </c:pt>
                <c:pt idx="2">
                  <c:v>0.32641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4102</c:v>
                </c:pt>
                <c:pt idx="1">
                  <c:v>0.266947</c:v>
                </c:pt>
                <c:pt idx="2">
                  <c:v>0.1750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27834</c:v>
                </c:pt>
                <c:pt idx="1">
                  <c:v>0.330987</c:v>
                </c:pt>
                <c:pt idx="2">
                  <c:v>0.219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vlon Inc</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67408</c:v>
                </c:pt>
                <c:pt idx="1">
                  <c:v>0.258709</c:v>
                </c:pt>
                <c:pt idx="2">
                  <c:v>0.2428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b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4164</c:v>
                </c:pt>
                <c:pt idx="1">
                  <c:v>0.200738</c:v>
                </c:pt>
                <c:pt idx="2">
                  <c:v>0.14398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lio Design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165657</c:v>
                </c:pt>
                <c:pt idx="2">
                  <c:v>0.1727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312401</c:v>
                </c:pt>
                <c:pt idx="1">
                  <c:v>0.012096</c:v>
                </c:pt>
                <c:pt idx="2">
                  <c:v>0.00040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03016</c:v>
                </c:pt>
                <c:pt idx="1">
                  <c:v>0.189268</c:v>
                </c:pt>
                <c:pt idx="2">
                  <c:v>0.1260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86949</c:v>
                </c:pt>
                <c:pt idx="1">
                  <c:v>2.718771</c:v>
                </c:pt>
                <c:pt idx="2">
                  <c:v>0.2589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c:v>
                </c:pt>
                <c:pt idx="1">
                  <c:v>1.702571</c:v>
                </c:pt>
                <c:pt idx="2">
                  <c:v>0.0053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kintimate</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65133</c:v>
                </c:pt>
                <c:pt idx="1">
                  <c:v>0.006413</c:v>
                </c:pt>
                <c:pt idx="2">
                  <c:v>5e-0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5e-05</c:v>
                </c:pt>
                <c:pt idx="1">
                  <c:v>0.0</c:v>
                </c:pt>
                <c:pt idx="2">
                  <c:v>0.0</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e-06</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4</a:t>
                    </a:r>
                  </a:p>
                </c:rich>
              </c:tx>
              <c:showLegendKey val="0"/>
              <c:showVal val="1"/>
              <c:showCatName val="0"/>
              <c:showSerName val="0"/>
              <c:showPercent val="0"/>
              <c:showBubbleSize val="0"/>
            </c:dLbl>
            <c:dLbl>
              <c:idx val="2"/>
              <c:tx>
                <c:rich>
                  <a:bodyPr/>
                  <a:lstStyle/>
                  <a:p>
                    <a:r>
                      <a:rPr>
                        <a:solidFill>
                          <a:srgbClr val="FFFFFF"/>
                        </a:solidFill>
                      </a:rPr>
                      <a:t>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743122</c:v>
                </c:pt>
                <c:pt idx="1">
                  <c:v>8.357646</c:v>
                </c:pt>
                <c:pt idx="2">
                  <c:v>6.6096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605948</c:v>
                </c:pt>
                <c:pt idx="1">
                  <c:v>3.543346</c:v>
                </c:pt>
                <c:pt idx="2">
                  <c:v>2.15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3456</c:v>
                </c:pt>
                <c:pt idx="1">
                  <c:v>0.00147</c:v>
                </c:pt>
                <c:pt idx="2">
                  <c:v>0.0584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5576</c:v>
                </c:pt>
                <c:pt idx="1">
                  <c:v>0.020433</c:v>
                </c:pt>
                <c:pt idx="2">
                  <c:v>0.0162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2e-05</c:v>
                </c:pt>
                <c:pt idx="1">
                  <c:v>1.5e-05</c:v>
                </c:pt>
                <c:pt idx="2">
                  <c:v>1.2e-0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1e-05</c:v>
                </c:pt>
                <c:pt idx="1">
                  <c:v>5.2e-05</c:v>
                </c:pt>
                <c:pt idx="2">
                  <c:v>0.0001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0.3</a:t>
                    </a:r>
                  </a:p>
                </c:rich>
              </c:tx>
              <c:showLegendKey val="0"/>
              <c:showVal val="1"/>
              <c:showCatName val="0"/>
              <c:showSerName val="0"/>
              <c:showPercent val="0"/>
              <c:showBubbleSize val="0"/>
            </c:dLbl>
            <c:dLbl>
              <c:idx val="1"/>
              <c:tx>
                <c:rich>
                  <a:bodyPr/>
                  <a:lstStyle/>
                  <a:p>
                    <a:r>
                      <a:rPr>
                        <a:solidFill>
                          <a:srgbClr val="FFFFFF"/>
                        </a:solidFill>
                      </a:rPr>
                      <a:t>23.2</a:t>
                    </a:r>
                  </a:p>
                </c:rich>
              </c:tx>
              <c:showLegendKey val="0"/>
              <c:showVal val="1"/>
              <c:showCatName val="0"/>
              <c:showSerName val="0"/>
              <c:showPercent val="0"/>
              <c:showBubbleSize val="0"/>
            </c:dLbl>
            <c:dLbl>
              <c:idx val="2"/>
              <c:tx>
                <c:rich>
                  <a:bodyPr/>
                  <a:lstStyle/>
                  <a:p>
                    <a:r>
                      <a:rPr>
                        <a:solidFill>
                          <a:srgbClr val="FFFFFF"/>
                        </a:solidFill>
                      </a:rPr>
                      <a:t>1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0.256851</c:v>
                </c:pt>
                <c:pt idx="1">
                  <c:v>23.184667</c:v>
                </c:pt>
                <c:pt idx="2">
                  <c:v>17.90442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098108</c:v>
                </c:pt>
                <c:pt idx="1">
                  <c:v>3.856306</c:v>
                </c:pt>
                <c:pt idx="2">
                  <c:v>2.40005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8892</c:v>
                </c:pt>
                <c:pt idx="1">
                  <c:v>0.002658</c:v>
                </c:pt>
                <c:pt idx="2">
                  <c:v>0.1389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Intuition</c:v>
                </c:pt>
              </c:strCache>
            </c:strRef>
          </c:tx>
          <c:spPr>
            <a:solidFill>
              <a:srgbClr val="7ECAC4"/>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0909</c:v>
                </c:pt>
                <c:pt idx="1">
                  <c:v>0.040462</c:v>
                </c:pt>
                <c:pt idx="2">
                  <c:v>0.03332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9.4e-05</c:v>
                </c:pt>
                <c:pt idx="1">
                  <c:v>4.6e-05</c:v>
                </c:pt>
                <c:pt idx="2">
                  <c:v>4.6e-0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0101</c:v>
                </c:pt>
                <c:pt idx="1">
                  <c:v>0.0001</c:v>
                </c:pt>
                <c:pt idx="2">
                  <c:v>0.00034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13981</c:v>
                </c:pt>
                <c:pt idx="1">
                  <c:v>1.008973</c:v>
                </c:pt>
                <c:pt idx="2">
                  <c:v>0.85992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Quattro</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06363</c:v>
                </c:pt>
                <c:pt idx="1">
                  <c:v>0.818971</c:v>
                </c:pt>
                <c:pt idx="2">
                  <c:v>0.52373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01577</c:v>
                </c:pt>
                <c:pt idx="1">
                  <c:v>0.448617</c:v>
                </c:pt>
                <c:pt idx="2">
                  <c:v>0.37343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56</c:v>
                </c:pt>
                <c:pt idx="1">
                  <c:v>0.026899</c:v>
                </c:pt>
                <c:pt idx="2">
                  <c:v>0.0663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7503</c:v>
                </c:pt>
                <c:pt idx="1">
                  <c:v>0.032136</c:v>
                </c:pt>
                <c:pt idx="2">
                  <c:v>0.01938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60808</c:v>
                </c:pt>
                <c:pt idx="1">
                  <c:v>0.06689</c:v>
                </c:pt>
                <c:pt idx="2">
                  <c:v>0.01805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575</c:v>
                </c:pt>
                <c:pt idx="1">
                  <c:v>0.001522</c:v>
                </c:pt>
                <c:pt idx="2">
                  <c:v>0.00101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797612</c:v>
                </c:pt>
                <c:pt idx="1">
                  <c:v>3.877821</c:v>
                </c:pt>
                <c:pt idx="2">
                  <c:v>2.9337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Quattro</c:v>
                </c:pt>
              </c:strCache>
            </c:strRef>
          </c:tx>
          <c:spPr>
            <a:solidFill>
              <a:srgbClr val="BFBFBF"/>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234208</c:v>
                </c:pt>
                <c:pt idx="1">
                  <c:v>1.99879</c:v>
                </c:pt>
                <c:pt idx="2">
                  <c:v>1.10606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56016</c:v>
                </c:pt>
                <c:pt idx="1">
                  <c:v>0.559091</c:v>
                </c:pt>
                <c:pt idx="2">
                  <c:v>0.41244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966</c:v>
                </c:pt>
                <c:pt idx="1">
                  <c:v>0.092553</c:v>
                </c:pt>
                <c:pt idx="2">
                  <c:v>0.17682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0732</c:v>
                </c:pt>
                <c:pt idx="1">
                  <c:v>0.069004</c:v>
                </c:pt>
                <c:pt idx="2">
                  <c:v>0.0423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7891</c:v>
                </c:pt>
                <c:pt idx="1">
                  <c:v>0.082894</c:v>
                </c:pt>
                <c:pt idx="2">
                  <c:v>0.02643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901</c:v>
                </c:pt>
                <c:pt idx="1">
                  <c:v>0.002488</c:v>
                </c:pt>
                <c:pt idx="2">
                  <c:v>0.00137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96742</c:v>
                </c:pt>
                <c:pt idx="1">
                  <c:v>0.661053</c:v>
                </c:pt>
                <c:pt idx="2">
                  <c:v>0.71593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64381</c:v>
                </c:pt>
                <c:pt idx="1">
                  <c:v>0.01581</c:v>
                </c:pt>
                <c:pt idx="2">
                  <c:v>0.03925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04243</c:v>
                </c:pt>
                <c:pt idx="2">
                  <c:v>0.005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09555</c:v>
                </c:pt>
                <c:pt idx="1">
                  <c:v>2.996827</c:v>
                </c:pt>
                <c:pt idx="2">
                  <c:v>2.8012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2753</c:v>
                </c:pt>
                <c:pt idx="1">
                  <c:v>0.072068</c:v>
                </c:pt>
                <c:pt idx="2">
                  <c:v>0.1833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c:v>
                </c:pt>
                <c:pt idx="1">
                  <c:v>0.055784</c:v>
                </c:pt>
                <c:pt idx="2">
                  <c:v>0.0812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71578</c:v>
                </c:pt>
                <c:pt idx="1">
                  <c:v>0.837311</c:v>
                </c:pt>
                <c:pt idx="2">
                  <c:v>0.44577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7407</c:v>
                </c:pt>
                <c:pt idx="1">
                  <c:v>0.463509</c:v>
                </c:pt>
                <c:pt idx="2">
                  <c:v>0.291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5459</c:v>
                </c:pt>
                <c:pt idx="1">
                  <c:v>0.285856</c:v>
                </c:pt>
                <c:pt idx="2">
                  <c:v>0.11595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8893</c:v>
                </c:pt>
                <c:pt idx="1">
                  <c:v>0.056459</c:v>
                </c:pt>
                <c:pt idx="2">
                  <c:v>0.00123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4917</c:v>
                </c:pt>
                <c:pt idx="1">
                  <c:v>0.163571</c:v>
                </c:pt>
                <c:pt idx="2">
                  <c:v>0.0873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22407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33826</c:v>
                </c:pt>
                <c:pt idx="1">
                  <c:v>0.091671</c:v>
                </c:pt>
                <c:pt idx="2">
                  <c:v>0.03456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07784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5072</c:v>
                </c:pt>
                <c:pt idx="1">
                  <c:v>0.038441</c:v>
                </c:pt>
                <c:pt idx="2">
                  <c:v>0.02395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37314</c:v>
                </c:pt>
                <c:pt idx="1">
                  <c:v>0.258313</c:v>
                </c:pt>
                <c:pt idx="2">
                  <c:v>0.1861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62824</c:v>
                </c:pt>
                <c:pt idx="1">
                  <c:v>2.340615</c:v>
                </c:pt>
                <c:pt idx="2">
                  <c:v>1.2658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5773</c:v>
                </c:pt>
                <c:pt idx="1">
                  <c:v>0.88129</c:v>
                </c:pt>
                <c:pt idx="2">
                  <c:v>0.58922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8674</c:v>
                </c:pt>
                <c:pt idx="1">
                  <c:v>1.098028</c:v>
                </c:pt>
                <c:pt idx="2">
                  <c:v>0.40281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inishing Touch Flawless</c:v>
                </c:pt>
              </c:strCache>
            </c:strRef>
          </c:tx>
          <c:spPr>
            <a:solidFill>
              <a:srgbClr val="9B9898"/>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16898</c:v>
                </c:pt>
                <c:pt idx="1">
                  <c:v>0.190077</c:v>
                </c:pt>
                <c:pt idx="2">
                  <c:v>0.00462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lio</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1497</c:v>
                </c:pt>
                <c:pt idx="1">
                  <c:v>0.328505</c:v>
                </c:pt>
                <c:pt idx="2">
                  <c:v>0.1964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74387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Ardel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0083</c:v>
                </c:pt>
                <c:pt idx="1">
                  <c:v>0.164046</c:v>
                </c:pt>
                <c:pt idx="2">
                  <c:v>0.06207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c:v>
                </c:pt>
                <c:pt idx="1">
                  <c:v>0.0</c:v>
                </c:pt>
                <c:pt idx="2">
                  <c:v>0.32412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21674</c:v>
                </c:pt>
                <c:pt idx="1">
                  <c:v>0.164309</c:v>
                </c:pt>
                <c:pt idx="2">
                  <c:v>0.10288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8927</c:v>
                </c:pt>
                <c:pt idx="1">
                  <c:v>0.19796</c:v>
                </c:pt>
                <c:pt idx="2">
                  <c:v>0.1377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867814</c:v>
                </c:pt>
                <c:pt idx="1">
                  <c:v>1.681542</c:v>
                </c:pt>
                <c:pt idx="2">
                  <c:v>1.00459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242185</c:v>
                </c:pt>
                <c:pt idx="1">
                  <c:v>3.019425</c:v>
                </c:pt>
                <c:pt idx="2">
                  <c:v>1.30850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3642</c:v>
                </c:pt>
                <c:pt idx="1">
                  <c:v>0.582492</c:v>
                </c:pt>
                <c:pt idx="2">
                  <c:v>0.41848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359</c:v>
                </c:pt>
                <c:pt idx="1">
                  <c:v>0.000654</c:v>
                </c:pt>
                <c:pt idx="2">
                  <c:v>0.0004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9.8</a:t>
                    </a:r>
                  </a:p>
                </c:rich>
              </c:tx>
              <c:showLegendKey val="0"/>
              <c:showVal val="1"/>
              <c:showCatName val="0"/>
              <c:showSerName val="0"/>
              <c:showPercent val="0"/>
              <c:showBubbleSize val="0"/>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797362</c:v>
                </c:pt>
                <c:pt idx="1">
                  <c:v>9.287804</c:v>
                </c:pt>
                <c:pt idx="2">
                  <c:v>5.4639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a:solidFill>
                          <a:srgbClr val="FFFFFF"/>
                        </a:solidFill>
                      </a:rPr>
                      <a:t>6.8</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767</c:v>
                </c:pt>
                <c:pt idx="1">
                  <c:v>6.132053</c:v>
                </c:pt>
                <c:pt idx="2">
                  <c:v>2.62074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042562</c:v>
                </c:pt>
                <c:pt idx="1">
                  <c:v>1.720547</c:v>
                </c:pt>
                <c:pt idx="2">
                  <c:v>0.97243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786</c:v>
                </c:pt>
                <c:pt idx="1">
                  <c:v>0.001564</c:v>
                </c:pt>
                <c:pt idx="2">
                  <c:v>0.0011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755658</c:v>
                </c:pt>
                <c:pt idx="1">
                  <c:v>7.649581</c:v>
                </c:pt>
                <c:pt idx="2">
                  <c:v>5.8176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4355</c:v>
                </c:pt>
                <c:pt idx="1">
                  <c:v>1.253641</c:v>
                </c:pt>
                <c:pt idx="2">
                  <c:v>1.13654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01521</c:v>
                </c:pt>
                <c:pt idx="1">
                  <c:v>0.907855</c:v>
                </c:pt>
                <c:pt idx="2">
                  <c:v>0.55178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929906</c:v>
                </c:pt>
                <c:pt idx="1">
                  <c:v>2.489972</c:v>
                </c:pt>
                <c:pt idx="2">
                  <c:v>1.47763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4298</c:v>
                </c:pt>
                <c:pt idx="1">
                  <c:v>0.02932</c:v>
                </c:pt>
                <c:pt idx="2">
                  <c:v>0.01555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76</c:v>
                </c:pt>
                <c:pt idx="1">
                  <c:v>0.074734</c:v>
                </c:pt>
                <c:pt idx="2">
                  <c:v>0.0560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323041</c:v>
                </c:pt>
                <c:pt idx="1">
                  <c:v>2.225107</c:v>
                </c:pt>
                <c:pt idx="2">
                  <c:v>1.64738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04486</c:v>
                </c:pt>
                <c:pt idx="1">
                  <c:v>1.475264</c:v>
                </c:pt>
                <c:pt idx="2">
                  <c:v>1.3590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aisy</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14701</c:v>
                </c:pt>
                <c:pt idx="1">
                  <c:v>0.759755</c:v>
                </c:pt>
                <c:pt idx="2">
                  <c:v>0.4616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 Pl</c:v>
                </c:pt>
              </c:strCache>
            </c:strRef>
          </c:tx>
          <c:spPr>
            <a:solidFill>
              <a:srgbClr val="9B9898"/>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95495</c:v>
                </c:pt>
                <c:pt idx="1">
                  <c:v>0.560525</c:v>
                </c:pt>
                <c:pt idx="2">
                  <c:v>0.34895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5634</c:v>
                </c:pt>
                <c:pt idx="1">
                  <c:v>0.015142</c:v>
                </c:pt>
                <c:pt idx="2">
                  <c:v>0.0087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8448</c:v>
                </c:pt>
                <c:pt idx="1">
                  <c:v>0.039404</c:v>
                </c:pt>
                <c:pt idx="2">
                  <c:v>0.0299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55431</c:v>
                </c:pt>
                <c:pt idx="1">
                  <c:v>0.767613</c:v>
                </c:pt>
                <c:pt idx="2">
                  <c:v>0.5203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28614</c:v>
                </c:pt>
                <c:pt idx="1">
                  <c:v>0.554861</c:v>
                </c:pt>
                <c:pt idx="2">
                  <c:v>0.2058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6035</c:v>
                </c:pt>
                <c:pt idx="1">
                  <c:v>0.578617</c:v>
                </c:pt>
                <c:pt idx="2">
                  <c:v>0.3040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23523</c:v>
                </c:pt>
                <c:pt idx="1">
                  <c:v>0.391232</c:v>
                </c:pt>
                <c:pt idx="2">
                  <c:v>0.26041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c Easyrins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254</c:v>
                </c:pt>
                <c:pt idx="1">
                  <c:v>0.163835</c:v>
                </c:pt>
                <c:pt idx="2">
                  <c:v>0.09929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57159</c:v>
                </c:pt>
                <c:pt idx="2">
                  <c:v>0.03681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584</c:v>
                </c:pt>
                <c:pt idx="1">
                  <c:v>0.000182</c:v>
                </c:pt>
                <c:pt idx="2">
                  <c:v>0.0001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726249</c:v>
                </c:pt>
                <c:pt idx="1">
                  <c:v>3.263732</c:v>
                </c:pt>
                <c:pt idx="2">
                  <c:v>2.1144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32511</c:v>
                </c:pt>
                <c:pt idx="1">
                  <c:v>0.830395</c:v>
                </c:pt>
                <c:pt idx="2">
                  <c:v>0.31024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29985</c:v>
                </c:pt>
                <c:pt idx="1">
                  <c:v>0.77041</c:v>
                </c:pt>
                <c:pt idx="2">
                  <c:v>0.43014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15682</c:v>
                </c:pt>
                <c:pt idx="1">
                  <c:v>0.672546</c:v>
                </c:pt>
                <c:pt idx="2">
                  <c:v>0.4474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c Easyrinse</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632</c:v>
                </c:pt>
                <c:pt idx="1">
                  <c:v>0.392728</c:v>
                </c:pt>
                <c:pt idx="2">
                  <c:v>0.19161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215366</c:v>
                </c:pt>
                <c:pt idx="2">
                  <c:v>0.139043</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0598</c:v>
                </c:pt>
                <c:pt idx="1">
                  <c:v>0.000174</c:v>
                </c:pt>
                <c:pt idx="2">
                  <c:v>0.0002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11094</c:v>
                </c:pt>
                <c:pt idx="1">
                  <c:v>0.20676</c:v>
                </c:pt>
                <c:pt idx="2">
                  <c:v>0.15886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3615</c:v>
                </c:pt>
                <c:pt idx="1">
                  <c:v>0.300481</c:v>
                </c:pt>
                <c:pt idx="2">
                  <c:v>0.220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9312</c:v>
                </c:pt>
                <c:pt idx="1">
                  <c:v>0.112459</c:v>
                </c:pt>
                <c:pt idx="2">
                  <c:v>0.0827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52</c:v>
                </c:pt>
                <c:pt idx="1">
                  <c:v>0.057086</c:v>
                </c:pt>
                <c:pt idx="2">
                  <c:v>0.04584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77199</c:v>
                </c:pt>
                <c:pt idx="1">
                  <c:v>0.172684</c:v>
                </c:pt>
                <c:pt idx="2">
                  <c:v>0.1153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8535</c:v>
                </c:pt>
                <c:pt idx="1">
                  <c:v>0.032213</c:v>
                </c:pt>
                <c:pt idx="2">
                  <c:v>0.0008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7785</c:v>
                </c:pt>
                <c:pt idx="1">
                  <c:v>0.007096</c:v>
                </c:pt>
                <c:pt idx="2">
                  <c:v>0.0111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8002</c:v>
                </c:pt>
                <c:pt idx="1">
                  <c:v>0.395654</c:v>
                </c:pt>
                <c:pt idx="2">
                  <c:v>0.29853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7528</c:v>
                </c:pt>
                <c:pt idx="1">
                  <c:v>0.313985</c:v>
                </c:pt>
                <c:pt idx="2">
                  <c:v>0.2126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8585</c:v>
                </c:pt>
                <c:pt idx="1">
                  <c:v>0.1918</c:v>
                </c:pt>
                <c:pt idx="2">
                  <c:v>0.142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5378</c:v>
                </c:pt>
                <c:pt idx="1">
                  <c:v>0.162015</c:v>
                </c:pt>
                <c:pt idx="2">
                  <c:v>0.137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7559</c:v>
                </c:pt>
                <c:pt idx="1">
                  <c:v>0.153881</c:v>
                </c:pt>
                <c:pt idx="2">
                  <c:v>0.1028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6843</c:v>
                </c:pt>
                <c:pt idx="1">
                  <c:v>0.046488</c:v>
                </c:pt>
                <c:pt idx="2">
                  <c:v>0.00116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9817</c:v>
                </c:pt>
                <c:pt idx="1">
                  <c:v>0.011864</c:v>
                </c:pt>
                <c:pt idx="2">
                  <c:v>0.01950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5636</c:v>
                </c:pt>
                <c:pt idx="1">
                  <c:v>3.333248</c:v>
                </c:pt>
                <c:pt idx="2">
                  <c:v>2.41408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76188</c:v>
                </c:pt>
                <c:pt idx="1">
                  <c:v>0.525991</c:v>
                </c:pt>
                <c:pt idx="2">
                  <c:v>0.4193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438645</c:v>
                </c:pt>
                <c:pt idx="1">
                  <c:v>1.196654</c:v>
                </c:pt>
                <c:pt idx="2">
                  <c:v>0.74081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70108</c:v>
                </c:pt>
                <c:pt idx="1">
                  <c:v>0.257775</c:v>
                </c:pt>
                <c:pt idx="2">
                  <c:v>0.1724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1e-05</c:v>
                </c:pt>
                <c:pt idx="1">
                  <c:v>0.0</c:v>
                </c:pt>
                <c:pt idx="2">
                  <c:v>0.0</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e-06</c:v>
                </c:pt>
                <c:pt idx="1">
                  <c:v>3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 Silky Touch</c:v>
                </c:pt>
              </c:strCache>
            </c:strRef>
          </c:tx>
          <c:spPr>
            <a:solidFill>
              <a:srgbClr val="D9D9D9"/>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6812</c:v>
                </c:pt>
                <c:pt idx="1">
                  <c:v>0.96722</c:v>
                </c:pt>
                <c:pt idx="2">
                  <c:v>0.6834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illette Venus</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08928</c:v>
                </c:pt>
                <c:pt idx="1">
                  <c:v>0.607237</c:v>
                </c:pt>
                <c:pt idx="2">
                  <c:v>0.512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90415</c:v>
                </c:pt>
                <c:pt idx="1">
                  <c:v>0.263047</c:v>
                </c:pt>
                <c:pt idx="2">
                  <c:v>0.1677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aisy</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20954</c:v>
                </c:pt>
                <c:pt idx="1">
                  <c:v>0.214716</c:v>
                </c:pt>
                <c:pt idx="2">
                  <c:v>0.14367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5e-06</c:v>
                </c:pt>
                <c:pt idx="1">
                  <c:v>0.0</c:v>
                </c:pt>
                <c:pt idx="2">
                  <c:v>0.0</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8e-06</c:v>
                </c:pt>
                <c:pt idx="1">
                  <c:v>1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c:v>
                </c:pt>
                <c:pt idx="1">
                  <c:v>0.018289</c:v>
                </c:pt>
                <c:pt idx="2">
                  <c:v>0.0003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41238</c:v>
                </c:pt>
                <c:pt idx="1">
                  <c:v>0.000731</c:v>
                </c:pt>
                <c:pt idx="2">
                  <c:v>0.0</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Gillette Venu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e-06</c:v>
                </c:pt>
                <c:pt idx="1">
                  <c:v>0.000343</c:v>
                </c:pt>
                <c:pt idx="2">
                  <c:v>4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c:v>
                </c:pt>
                <c:pt idx="1">
                  <c:v>0.047902</c:v>
                </c:pt>
                <c:pt idx="2">
                  <c:v>0.0003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kintimate</c:v>
                </c:pt>
              </c:strCache>
            </c:strRef>
          </c:tx>
          <c:spPr>
            <a:solidFill>
              <a:srgbClr val="006C6D"/>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3974</c:v>
                </c:pt>
                <c:pt idx="1">
                  <c:v>0.000374</c:v>
                </c:pt>
                <c:pt idx="2">
                  <c:v>0.0</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Gillette Venus</c:v>
                </c:pt>
              </c:strCache>
            </c:strRef>
          </c:tx>
          <c:spPr>
            <a:solidFill>
              <a:srgbClr val="A6A6A6"/>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7e-05</c:v>
                </c:pt>
                <c:pt idx="1">
                  <c:v>0.001556</c:v>
                </c:pt>
                <c:pt idx="2">
                  <c:v>9.7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07544</c:v>
                </c:pt>
                <c:pt idx="1">
                  <c:v>3.872105</c:v>
                </c:pt>
                <c:pt idx="2">
                  <c:v>2.28130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10333</c:v>
                </c:pt>
                <c:pt idx="1">
                  <c:v>2.116566</c:v>
                </c:pt>
                <c:pt idx="2">
                  <c:v>1.3490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11894</c:v>
                </c:pt>
                <c:pt idx="1">
                  <c:v>0.750374</c:v>
                </c:pt>
                <c:pt idx="2">
                  <c:v>0.5900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9789</c:v>
                </c:pt>
                <c:pt idx="1">
                  <c:v>1.94408</c:v>
                </c:pt>
                <c:pt idx="2">
                  <c:v>1.38491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226112</c:v>
                </c:pt>
                <c:pt idx="1">
                  <c:v>2.148787</c:v>
                </c:pt>
                <c:pt idx="2">
                  <c:v>1.4949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30347</c:v>
                </c:pt>
                <c:pt idx="1">
                  <c:v>0.83324</c:v>
                </c:pt>
                <c:pt idx="2">
                  <c:v>0.52822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e-06</c:v>
                </c:pt>
                <c:pt idx="1">
                  <c:v>1.12782</c:v>
                </c:pt>
                <c:pt idx="2">
                  <c:v>1.08446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310716</c:v>
                </c:pt>
                <c:pt idx="1">
                  <c:v>0.324302</c:v>
                </c:pt>
                <c:pt idx="2">
                  <c:v>0.25419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57486</c:v>
                </c:pt>
                <c:pt idx="1">
                  <c:v>0.097144</c:v>
                </c:pt>
                <c:pt idx="2">
                  <c:v>0.00284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328757</c:v>
                </c:pt>
                <c:pt idx="1">
                  <c:v>0.382953</c:v>
                </c:pt>
                <c:pt idx="2">
                  <c:v>0.3079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4.3</a:t>
                    </a:r>
                  </a:p>
                </c:rich>
              </c:tx>
              <c:showLegendKey val="0"/>
              <c:showVal val="1"/>
              <c:showCatName val="0"/>
              <c:showSerName val="0"/>
              <c:showPercent val="0"/>
              <c:showBubbleSize val="0"/>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264817</c:v>
                </c:pt>
                <c:pt idx="1">
                  <c:v>7.474501</c:v>
                </c:pt>
                <c:pt idx="2">
                  <c:v>4.4106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10137</c:v>
                </c:pt>
                <c:pt idx="1">
                  <c:v>3.857215</c:v>
                </c:pt>
                <c:pt idx="2">
                  <c:v>2.418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3009</c:v>
                </c:pt>
                <c:pt idx="1">
                  <c:v>2.13218</c:v>
                </c:pt>
                <c:pt idx="2">
                  <c:v>1.7647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408156</c:v>
                </c:pt>
                <c:pt idx="1">
                  <c:v>2.012046</c:v>
                </c:pt>
                <c:pt idx="2">
                  <c:v>1.430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80911</c:v>
                </c:pt>
                <c:pt idx="1">
                  <c:v>2.001538</c:v>
                </c:pt>
                <c:pt idx="2">
                  <c:v>1.44790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255483</c:v>
                </c:pt>
                <c:pt idx="1">
                  <c:v>1.221028</c:v>
                </c:pt>
                <c:pt idx="2">
                  <c:v>0.77551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lio</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5e-06</c:v>
                </c:pt>
                <c:pt idx="1">
                  <c:v>1.871292</c:v>
                </c:pt>
                <c:pt idx="2">
                  <c:v>1.78908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082151</c:v>
                </c:pt>
                <c:pt idx="1">
                  <c:v>1.172552</c:v>
                </c:pt>
                <c:pt idx="2">
                  <c:v>0.9259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Finishing Touch Flawless</c:v>
                </c:pt>
              </c:strCache>
            </c:strRef>
          </c:tx>
          <c:spPr>
            <a:solidFill>
              <a:srgbClr val="7F7F7F"/>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2.875673</c:v>
                </c:pt>
                <c:pt idx="1">
                  <c:v>0.20026</c:v>
                </c:pt>
                <c:pt idx="2">
                  <c:v>0.00695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25874</c:v>
                </c:pt>
                <c:pt idx="1">
                  <c:v>0.748059</c:v>
                </c:pt>
                <c:pt idx="2">
                  <c:v>0.71350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49.0</a:t>
                    </a:r>
                  </a:p>
                </c:rich>
              </c:tx>
              <c:showLegendKey val="0"/>
              <c:showVal val="1"/>
              <c:showCatName val="0"/>
              <c:showSerName val="0"/>
              <c:showPercent val="0"/>
              <c:showBubbleSize val="0"/>
            </c:dLbl>
            <c:dLbl>
              <c:idx val="1"/>
              <c:tx>
                <c:rich>
                  <a:bodyPr/>
                  <a:lstStyle/>
                  <a:p>
                    <a:r>
                      <a:rPr>
                        <a:solidFill>
                          <a:srgbClr val="FFFFFF"/>
                        </a:solidFill>
                      </a:rPr>
                      <a:t>46.7</a:t>
                    </a:r>
                  </a:p>
                </c:rich>
              </c:tx>
              <c:showLegendKey val="0"/>
              <c:showVal val="1"/>
              <c:showCatName val="0"/>
              <c:showSerName val="0"/>
              <c:showPercent val="0"/>
              <c:showBubbleSize val="0"/>
            </c:dLbl>
            <c:dLbl>
              <c:idx val="2"/>
              <c:tx>
                <c:rich>
                  <a:bodyPr/>
                  <a:lstStyle/>
                  <a:p>
                    <a:r>
                      <a:rPr>
                        <a:solidFill>
                          <a:srgbClr val="FFFFFF"/>
                        </a:solidFill>
                      </a:rPr>
                      <a:t>3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8.979196</c:v>
                </c:pt>
                <c:pt idx="1">
                  <c:v>46.710652</c:v>
                </c:pt>
                <c:pt idx="2">
                  <c:v>32.7380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28.3</a:t>
                    </a:r>
                  </a:p>
                </c:rich>
              </c:tx>
              <c:showLegendKey val="0"/>
              <c:showVal val="1"/>
              <c:showCatName val="0"/>
              <c:showSerName val="0"/>
              <c:showPercent val="0"/>
              <c:showBubbleSize val="0"/>
            </c:dLbl>
            <c:dLbl>
              <c:idx val="1"/>
              <c:tx>
                <c:rich>
                  <a:bodyPr/>
                  <a:lstStyle/>
                  <a:p>
                    <a:r>
                      <a:rPr>
                        <a:solidFill>
                          <a:srgbClr val="FFFFFF"/>
                        </a:solidFill>
                      </a:rPr>
                      <a:t>29.8</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8.343749</c:v>
                </c:pt>
                <c:pt idx="1">
                  <c:v>29.769514</c:v>
                </c:pt>
                <c:pt idx="2">
                  <c:v>18.25521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599488</c:v>
                </c:pt>
                <c:pt idx="1">
                  <c:v>4.751111</c:v>
                </c:pt>
                <c:pt idx="2">
                  <c:v>4.1415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88059</c:v>
                </c:pt>
                <c:pt idx="1">
                  <c:v>0.881613</c:v>
                </c:pt>
                <c:pt idx="2">
                  <c:v>0.58924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34997</c:v>
                </c:pt>
                <c:pt idx="1">
                  <c:v>2.264302</c:v>
                </c:pt>
                <c:pt idx="2">
                  <c:v>0.9964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4</a:t>
                    </a:r>
                  </a:p>
                </c:rich>
              </c:tx>
              <c:showLegendKey val="0"/>
              <c:showVal val="1"/>
              <c:showCatName val="0"/>
              <c:showSerName val="0"/>
              <c:showPercent val="0"/>
              <c:showBubbleSize val="0"/>
            </c:dLbl>
            <c:dLbl>
              <c:idx val="2"/>
              <c:tx>
                <c:rich>
                  <a:bodyPr/>
                  <a:lstStyle/>
                  <a:p>
                    <a:r>
                      <a:rPr>
                        <a:solidFill>
                          <a:srgbClr val="FFFFFF"/>
                        </a:solidFill>
                      </a:rPr>
                      <a:t>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797445</c:v>
                </c:pt>
                <c:pt idx="1">
                  <c:v>6.378479</c:v>
                </c:pt>
                <c:pt idx="2">
                  <c:v>5.39729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588683</c:v>
                </c:pt>
                <c:pt idx="1">
                  <c:v>7.569741</c:v>
                </c:pt>
                <c:pt idx="2">
                  <c:v>5.53766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835972</c:v>
                </c:pt>
                <c:pt idx="1">
                  <c:v>12.080788</c:v>
                </c:pt>
                <c:pt idx="2">
                  <c:v>9.44003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407218</c:v>
                </c:pt>
                <c:pt idx="1">
                  <c:v>4.940903</c:v>
                </c:pt>
                <c:pt idx="2">
                  <c:v>2.25209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431609</c:v>
                </c:pt>
                <c:pt idx="1">
                  <c:v>6.893165</c:v>
                </c:pt>
                <c:pt idx="2">
                  <c:v>4.60937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3</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887268</c:v>
                </c:pt>
                <c:pt idx="1">
                  <c:v>6.260578</c:v>
                </c:pt>
                <c:pt idx="2">
                  <c:v>2.49607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6301</c:v>
                </c:pt>
                <c:pt idx="1">
                  <c:v>0.83214</c:v>
                </c:pt>
                <c:pt idx="2">
                  <c:v>1.1623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0135</c:v>
                </c:pt>
                <c:pt idx="1">
                  <c:v>3e-05</c:v>
                </c:pt>
                <c:pt idx="2">
                  <c:v>2.7e-0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2348</c:v>
                </c:pt>
                <c:pt idx="1">
                  <c:v>0.035083</c:v>
                </c:pt>
                <c:pt idx="2">
                  <c:v>0.0148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40.3</a:t>
                    </a:r>
                  </a:p>
                </c:rich>
              </c:tx>
              <c:showLegendKey val="0"/>
              <c:showVal val="1"/>
              <c:showCatName val="0"/>
              <c:showSerName val="0"/>
              <c:showPercent val="0"/>
              <c:showBubbleSize val="0"/>
            </c:dLbl>
            <c:dLbl>
              <c:idx val="1"/>
              <c:tx>
                <c:rich>
                  <a:bodyPr/>
                  <a:lstStyle/>
                  <a:p>
                    <a:r>
                      <a:rPr>
                        <a:solidFill>
                          <a:srgbClr val="FFFFFF"/>
                        </a:solidFill>
                      </a:rPr>
                      <a:t>33.8</a:t>
                    </a:r>
                  </a:p>
                </c:rich>
              </c:tx>
              <c:showLegendKey val="0"/>
              <c:showVal val="1"/>
              <c:showCatName val="0"/>
              <c:showSerName val="0"/>
              <c:showPercent val="0"/>
              <c:showBubbleSize val="0"/>
            </c:dLbl>
            <c:dLbl>
              <c:idx val="2"/>
              <c:tx>
                <c:rich>
                  <a:bodyPr/>
                  <a:lstStyle/>
                  <a:p>
                    <a:r>
                      <a:rPr>
                        <a:solidFill>
                          <a:srgbClr val="FFFFFF"/>
                        </a:solidFill>
                      </a:rPr>
                      <a:t>2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0.282328</c:v>
                </c:pt>
                <c:pt idx="1">
                  <c:v>33.750621</c:v>
                </c:pt>
                <c:pt idx="2">
                  <c:v>28.5978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llie</c:v>
                </c:pt>
              </c:strCache>
            </c:strRef>
          </c:tx>
          <c:spPr>
            <a:solidFill>
              <a:srgbClr val="006C6D"/>
            </a:solidFill>
            <a:ln>
              <a:solidFill>
                <a:schemeClr val="bg1"/>
              </a:solidFill>
            </a:ln>
            <a:effectLst/>
          </c:spPr>
          <c:invertIfNegative val="0"/>
          <c:dLbls>
            <c:dLbl>
              <c:idx val="0"/>
              <c:tx>
                <c:rich>
                  <a:bodyPr/>
                  <a:lstStyle/>
                  <a:p>
                    <a:r>
                      <a:rPr>
                        <a:solidFill>
                          <a:srgbClr val="FFFFFF"/>
                        </a:solidFill>
                      </a:rPr>
                      <a:t>24.7</a:t>
                    </a:r>
                  </a:p>
                </c:rich>
              </c:tx>
              <c:showLegendKey val="0"/>
              <c:showVal val="1"/>
              <c:showCatName val="0"/>
              <c:showSerName val="0"/>
              <c:showPercent val="0"/>
              <c:showBubbleSize val="0"/>
            </c:dLbl>
            <c:dLbl>
              <c:idx val="1"/>
              <c:tx>
                <c:rich>
                  <a:bodyPr/>
                  <a:lstStyle/>
                  <a:p>
                    <a:r>
                      <a:rPr>
                        <a:solidFill>
                          <a:srgbClr val="FFFFFF"/>
                        </a:solidFill>
                      </a:rPr>
                      <a:t>23.5</a:t>
                    </a:r>
                  </a:p>
                </c:rich>
              </c:tx>
              <c:showLegendKey val="0"/>
              <c:showVal val="1"/>
              <c:showCatName val="0"/>
              <c:showSerName val="0"/>
              <c:showPercent val="0"/>
              <c:showBubbleSize val="0"/>
            </c:dLbl>
            <c:dLbl>
              <c:idx val="2"/>
              <c:tx>
                <c:rich>
                  <a:bodyPr/>
                  <a:lstStyle/>
                  <a:p>
                    <a:r>
                      <a:rPr>
                        <a:solidFill>
                          <a:srgbClr val="FFFFFF"/>
                        </a:solidFill>
                      </a:rPr>
                      <a:t>1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4.660221</c:v>
                </c:pt>
                <c:pt idx="1">
                  <c:v>23.54959</c:v>
                </c:pt>
                <c:pt idx="2">
                  <c:v>16.5518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 Pl</c:v>
                </c:pt>
              </c:strCache>
            </c:strRef>
          </c:tx>
          <c:spPr>
            <a:solidFill>
              <a:srgbClr val="A6A6A6"/>
            </a:solidFill>
            <a:ln>
              <a:solidFill>
                <a:schemeClr val="bg1"/>
              </a:solidFill>
            </a:ln>
            <a:effectLst/>
          </c:spPr>
          <c:invertIfNegative val="0"/>
          <c:dLbls>
            <c:dLbl>
              <c:idx val="0"/>
              <c:tx>
                <c:rich>
                  <a:bodyPr/>
                  <a:lstStyle/>
                  <a:p>
                    <a:r>
                      <a:rPr>
                        <a:solidFill>
                          <a:srgbClr val="FFFFFF"/>
                        </a:solidFill>
                      </a:rPr>
                      <a:t>19.1</a:t>
                    </a:r>
                  </a:p>
                </c:rich>
              </c:tx>
              <c:showLegendKey val="0"/>
              <c:showVal val="1"/>
              <c:showCatName val="0"/>
              <c:showSerName val="0"/>
              <c:showPercent val="0"/>
              <c:showBubbleSize val="0"/>
            </c:dLbl>
            <c:dLbl>
              <c:idx val="1"/>
              <c:tx>
                <c:rich>
                  <a:bodyPr/>
                  <a:lstStyle/>
                  <a:p>
                    <a:r>
                      <a:rPr>
                        <a:solidFill>
                          <a:srgbClr val="FFFFFF"/>
                        </a:solidFill>
                      </a:rPr>
                      <a:t>19.9</a:t>
                    </a:r>
                  </a:p>
                </c:rich>
              </c:tx>
              <c:showLegendKey val="0"/>
              <c:showVal val="1"/>
              <c:showCatName val="0"/>
              <c:showSerName val="0"/>
              <c:showPercent val="0"/>
              <c:showBubbleSize val="0"/>
            </c:dLbl>
            <c:dLbl>
              <c:idx val="2"/>
              <c:tx>
                <c:rich>
                  <a:bodyPr/>
                  <a:lstStyle/>
                  <a:p>
                    <a:r>
                      <a:rPr>
                        <a:solidFill>
                          <a:srgbClr val="FFFFFF"/>
                        </a:solidFill>
                      </a:rPr>
                      <a:t>1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9.084365</c:v>
                </c:pt>
                <c:pt idx="1">
                  <c:v>19.885603</c:v>
                </c:pt>
                <c:pt idx="2">
                  <c:v>15.87228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dro Silk</c:v>
                </c:pt>
              </c:strCache>
            </c:strRef>
          </c:tx>
          <c:spPr>
            <a:solidFill>
              <a:srgbClr val="7ECAC4"/>
            </a:solidFill>
            <a:ln>
              <a:solidFill>
                <a:schemeClr val="bg1"/>
              </a:solidFill>
            </a:ln>
            <a:effectLst/>
          </c:spPr>
          <c:invertIfNegative val="0"/>
          <c:dLbls>
            <c:dLbl>
              <c:idx val="0"/>
              <c:tx>
                <c:rich>
                  <a:bodyPr/>
                  <a:lstStyle/>
                  <a:p>
                    <a:r>
                      <a:rPr>
                        <a:solidFill>
                          <a:srgbClr val="FFFFFF"/>
                        </a:solidFill>
                      </a:rPr>
                      <a:t>21.5</a:t>
                    </a:r>
                  </a:p>
                </c:rich>
              </c:tx>
              <c:showLegendKey val="0"/>
              <c:showVal val="1"/>
              <c:showCatName val="0"/>
              <c:showSerName val="0"/>
              <c:showPercent val="0"/>
              <c:showBubbleSize val="0"/>
            </c:dLbl>
            <c:dLbl>
              <c:idx val="1"/>
              <c:tx>
                <c:rich>
                  <a:bodyPr/>
                  <a:lstStyle/>
                  <a:p>
                    <a:r>
                      <a:rPr>
                        <a:solidFill>
                          <a:srgbClr val="FFFFFF"/>
                        </a:solidFill>
                      </a:rPr>
                      <a:t>21.3</a:t>
                    </a:r>
                  </a:p>
                </c:rich>
              </c:tx>
              <c:showLegendKey val="0"/>
              <c:showVal val="1"/>
              <c:showCatName val="0"/>
              <c:showSerName val="0"/>
              <c:showPercent val="0"/>
              <c:showBubbleSize val="0"/>
            </c:dLbl>
            <c:dLbl>
              <c:idx val="2"/>
              <c:tx>
                <c:rich>
                  <a:bodyPr/>
                  <a:lstStyle/>
                  <a:p>
                    <a:r>
                      <a:rPr>
                        <a:solidFill>
                          <a:srgbClr val="FFFFFF"/>
                        </a:solidFill>
                      </a:rPr>
                      <a:t>1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1.540552</c:v>
                </c:pt>
                <c:pt idx="1">
                  <c:v>21.275919</c:v>
                </c:pt>
                <c:pt idx="2">
                  <c:v>10.3253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20.0</a:t>
                    </a:r>
                  </a:p>
                </c:rich>
              </c:tx>
              <c:showLegendKey val="0"/>
              <c:showVal val="1"/>
              <c:showCatName val="0"/>
              <c:showSerName val="0"/>
              <c:showPercent val="0"/>
              <c:showBubbleSize val="0"/>
            </c:dLbl>
            <c:dLbl>
              <c:idx val="1"/>
              <c:tx>
                <c:rich>
                  <a:bodyPr/>
                  <a:lstStyle/>
                  <a:p>
                    <a:r>
                      <a:rPr>
                        <a:solidFill>
                          <a:srgbClr val="FFFFFF"/>
                        </a:solidFill>
                      </a:rPr>
                      <a:t>18.6</a:t>
                    </a:r>
                  </a:p>
                </c:rich>
              </c:tx>
              <c:showLegendKey val="0"/>
              <c:showVal val="1"/>
              <c:showCatName val="0"/>
              <c:showSerName val="0"/>
              <c:showPercent val="0"/>
              <c:showBubbleSize val="0"/>
            </c:dLbl>
            <c:dLbl>
              <c:idx val="2"/>
              <c:tx>
                <c:rich>
                  <a:bodyPr/>
                  <a:lstStyle/>
                  <a:p>
                    <a:r>
                      <a:rPr>
                        <a:solidFill>
                          <a:srgbClr val="FFFFFF"/>
                        </a:solidFill>
                      </a:rPr>
                      <a:t>1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964418</c:v>
                </c:pt>
                <c:pt idx="1">
                  <c:v>18.624209</c:v>
                </c:pt>
                <c:pt idx="2">
                  <c:v>12.21398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14.2</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4.249024</c:v>
                </c:pt>
                <c:pt idx="1">
                  <c:v>15.794195</c:v>
                </c:pt>
                <c:pt idx="2">
                  <c:v>8.06165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27604</c:v>
                </c:pt>
                <c:pt idx="1">
                  <c:v>2.696979</c:v>
                </c:pt>
                <c:pt idx="2">
                  <c:v>3.55888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0226</c:v>
                </c:pt>
                <c:pt idx="1">
                  <c:v>4.2e-05</c:v>
                </c:pt>
                <c:pt idx="2">
                  <c:v>4.7e-0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84279</c:v>
                </c:pt>
                <c:pt idx="1">
                  <c:v>0.080645</c:v>
                </c:pt>
                <c:pt idx="2">
                  <c:v>0.034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e-06</c:v>
                </c:pt>
                <c:pt idx="1">
                  <c:v>1.1e-05</c:v>
                </c:pt>
                <c:pt idx="2">
                  <c:v>6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e-05</c:v>
                </c:pt>
                <c:pt idx="1">
                  <c:v>2.2e-05</c:v>
                </c:pt>
                <c:pt idx="2">
                  <c:v>1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826</c:v>
                </c:pt>
                <c:pt idx="1">
                  <c:v>0.286498</c:v>
                </c:pt>
                <c:pt idx="2">
                  <c:v>0.14658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ilk Effect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3841</c:v>
                </c:pt>
                <c:pt idx="1">
                  <c:v>0.054908</c:v>
                </c:pt>
                <c:pt idx="2">
                  <c:v>0.05096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6756</c:v>
                </c:pt>
                <c:pt idx="1">
                  <c:v>0.044304</c:v>
                </c:pt>
                <c:pt idx="2">
                  <c:v>0.03144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t2/Slim Twi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141</c:v>
                </c:pt>
                <c:pt idx="1">
                  <c:v>0.042822</c:v>
                </c:pt>
                <c:pt idx="2">
                  <c:v>0.02829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Dais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0085</c:v>
                </c:pt>
                <c:pt idx="1">
                  <c:v>0.030952</c:v>
                </c:pt>
                <c:pt idx="2">
                  <c:v>0.01249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051</c:v>
                </c:pt>
                <c:pt idx="1">
                  <c:v>0.023666</c:v>
                </c:pt>
                <c:pt idx="2">
                  <c:v>0.008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76715</c:v>
                </c:pt>
                <c:pt idx="1">
                  <c:v>0.214501</c:v>
                </c:pt>
                <c:pt idx="2">
                  <c:v>0.19716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11811</c:v>
                </c:pt>
                <c:pt idx="1">
                  <c:v>2.188509</c:v>
                </c:pt>
                <c:pt idx="2">
                  <c:v>1.500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848152</c:v>
                </c:pt>
                <c:pt idx="1">
                  <c:v>4.756533</c:v>
                </c:pt>
                <c:pt idx="2">
                  <c:v>3.35795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347703</c:v>
                </c:pt>
                <c:pt idx="1">
                  <c:v>2.118298</c:v>
                </c:pt>
                <c:pt idx="2">
                  <c:v>1.34827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20065</c:v>
                </c:pt>
                <c:pt idx="1">
                  <c:v>0.299083</c:v>
                </c:pt>
                <c:pt idx="2">
                  <c:v>0.13850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e-05</c:v>
                </c:pt>
                <c:pt idx="1">
                  <c:v>4e-06</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2.6</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78341</c:v>
                </c:pt>
                <c:pt idx="1">
                  <c:v>1.941523</c:v>
                </c:pt>
                <c:pt idx="2">
                  <c:v>0.9437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ilk Effects</c:v>
                </c:pt>
              </c:strCache>
            </c:strRef>
          </c:tx>
          <c:spPr>
            <a:solidFill>
              <a:srgbClr val="BFBFB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79869</c:v>
                </c:pt>
                <c:pt idx="1">
                  <c:v>0.102158</c:v>
                </c:pt>
                <c:pt idx="2">
                  <c:v>0.09700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ilky Touch</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3114</c:v>
                </c:pt>
                <c:pt idx="1">
                  <c:v>0.073554</c:v>
                </c:pt>
                <c:pt idx="2">
                  <c:v>0.0647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t2/Slim Twin</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3506</c:v>
                </c:pt>
                <c:pt idx="1">
                  <c:v>0.053824</c:v>
                </c:pt>
                <c:pt idx="2">
                  <c:v>0.04099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Daisy</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7333</c:v>
                </c:pt>
                <c:pt idx="1">
                  <c:v>0.036064</c:v>
                </c:pt>
                <c:pt idx="2">
                  <c:v>0.01876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3627</c:v>
                </c:pt>
                <c:pt idx="1">
                  <c:v>0.016635</c:v>
                </c:pt>
                <c:pt idx="2">
                  <c:v>0.00770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38509</c:v>
                </c:pt>
                <c:pt idx="1">
                  <c:v>0.098928</c:v>
                </c:pt>
                <c:pt idx="2">
                  <c:v>0.1278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191</c:v>
                </c:pt>
                <c:pt idx="1">
                  <c:v>1.36081</c:v>
                </c:pt>
                <c:pt idx="2">
                  <c:v>1.03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17579</c:v>
                </c:pt>
                <c:pt idx="1">
                  <c:v>0.609682</c:v>
                </c:pt>
                <c:pt idx="2">
                  <c:v>0.49741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06125</c:v>
                </c:pt>
                <c:pt idx="1">
                  <c:v>0.489161</c:v>
                </c:pt>
                <c:pt idx="2">
                  <c:v>0.43682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938</c:v>
                </c:pt>
                <c:pt idx="1">
                  <c:v>0.042813</c:v>
                </c:pt>
                <c:pt idx="2">
                  <c:v>0.03686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8154</c:v>
                </c:pt>
                <c:pt idx="1">
                  <c:v>0.026509</c:v>
                </c:pt>
                <c:pt idx="2">
                  <c:v>0.0371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0205</c:v>
                </c:pt>
                <c:pt idx="1">
                  <c:v>0.010638</c:v>
                </c:pt>
                <c:pt idx="2">
                  <c:v>0.01463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3.9</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859154</c:v>
                </c:pt>
                <c:pt idx="1">
                  <c:v>3.852118</c:v>
                </c:pt>
                <c:pt idx="2">
                  <c:v>3.00267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 Soleil</c:v>
                </c:pt>
              </c:strCache>
            </c:strRef>
          </c:tx>
          <c:spPr>
            <a:solidFill>
              <a:srgbClr val="BFBFB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4278</c:v>
                </c:pt>
                <c:pt idx="1">
                  <c:v>0.97929</c:v>
                </c:pt>
                <c:pt idx="2">
                  <c:v>0.82098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Quattro</c:v>
                </c:pt>
              </c:strCache>
            </c:strRef>
          </c:tx>
          <c:spPr>
            <a:solidFill>
              <a:srgbClr val="A6A6A6"/>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96114</c:v>
                </c:pt>
                <c:pt idx="1">
                  <c:v>0.985809</c:v>
                </c:pt>
                <c:pt idx="2">
                  <c:v>0.75190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Easyrinse</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2643</c:v>
                </c:pt>
                <c:pt idx="1">
                  <c:v>0.111078</c:v>
                </c:pt>
                <c:pt idx="2">
                  <c:v>0.07333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kintimat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7411</c:v>
                </c:pt>
                <c:pt idx="1">
                  <c:v>0.035906</c:v>
                </c:pt>
                <c:pt idx="2">
                  <c:v>0.0467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9014</c:v>
                </c:pt>
                <c:pt idx="1">
                  <c:v>0.022196</c:v>
                </c:pt>
                <c:pt idx="2">
                  <c:v>0.0221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55969</c:v>
                </c:pt>
                <c:pt idx="1">
                  <c:v>0.902625</c:v>
                </c:pt>
                <c:pt idx="2">
                  <c:v>0.8683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47152</c:v>
                </c:pt>
                <c:pt idx="1">
                  <c:v>1.800602</c:v>
                </c:pt>
                <c:pt idx="2">
                  <c:v>1.02066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17999</c:v>
                </c:pt>
                <c:pt idx="1">
                  <c:v>0.581858</c:v>
                </c:pt>
                <c:pt idx="2">
                  <c:v>0.93540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94442</c:v>
                </c:pt>
                <c:pt idx="1">
                  <c:v>0.408345</c:v>
                </c:pt>
                <c:pt idx="2">
                  <c:v>0.3953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99087</c:v>
                </c:pt>
                <c:pt idx="1">
                  <c:v>0.147662</c:v>
                </c:pt>
                <c:pt idx="2">
                  <c:v>0.11979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338461</c:v>
                </c:pt>
                <c:pt idx="1">
                  <c:v>0.346002</c:v>
                </c:pt>
                <c:pt idx="2">
                  <c:v>0.18889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4134</c:v>
                </c:pt>
                <c:pt idx="1">
                  <c:v>0.128382</c:v>
                </c:pt>
                <c:pt idx="2">
                  <c:v>0.06163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38703</c:v>
                </c:pt>
                <c:pt idx="1">
                  <c:v>0.236245</c:v>
                </c:pt>
                <c:pt idx="2">
                  <c:v>0.12075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333171</c:v>
                </c:pt>
                <c:pt idx="1">
                  <c:v>0.289206</c:v>
                </c:pt>
                <c:pt idx="2">
                  <c:v>0.2717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348141</c:v>
                </c:pt>
                <c:pt idx="1">
                  <c:v>4.186301</c:v>
                </c:pt>
                <c:pt idx="2">
                  <c:v>3.8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617971</c:v>
                </c:pt>
                <c:pt idx="1">
                  <c:v>4.833323</c:v>
                </c:pt>
                <c:pt idx="2">
                  <c:v>2.6355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Flamingo</c:v>
                </c:pt>
              </c:strCache>
            </c:strRef>
          </c:tx>
          <c:spPr>
            <a:solidFill>
              <a:srgbClr val="A6A6A6"/>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66596</c:v>
                </c:pt>
                <c:pt idx="1">
                  <c:v>1.716804</c:v>
                </c:pt>
                <c:pt idx="2">
                  <c:v>2.3830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Joy</c:v>
                </c:pt>
              </c:strCache>
            </c:strRef>
          </c:tx>
          <c:spPr>
            <a:solidFill>
              <a:srgbClr val="9B9898"/>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26321</c:v>
                </c:pt>
                <c:pt idx="1">
                  <c:v>0.886415</c:v>
                </c:pt>
                <c:pt idx="2">
                  <c:v>0.8210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dro Silk</c:v>
                </c:pt>
              </c:strCache>
            </c:strRef>
          </c:tx>
          <c:spPr>
            <a:solidFill>
              <a:srgbClr val="99C7C5"/>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695554</c:v>
                </c:pt>
                <c:pt idx="1">
                  <c:v>0.510061</c:v>
                </c:pt>
                <c:pt idx="2">
                  <c:v>0.4053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c Soleil</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634231</c:v>
                </c:pt>
                <c:pt idx="1">
                  <c:v>0.593473</c:v>
                </c:pt>
                <c:pt idx="2">
                  <c:v>0.34425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Billie</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475216</c:v>
                </c:pt>
                <c:pt idx="1">
                  <c:v>0.267769</c:v>
                </c:pt>
                <c:pt idx="2">
                  <c:v>0.14394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211237</c:v>
                </c:pt>
                <c:pt idx="1">
                  <c:v>0.354529</c:v>
                </c:pt>
                <c:pt idx="2">
                  <c:v>0.17744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069172</c:v>
                </c:pt>
                <c:pt idx="1">
                  <c:v>0.981023</c:v>
                </c:pt>
                <c:pt idx="2">
                  <c:v>0.967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578372</c:v>
                </c:pt>
                <c:pt idx="1">
                  <c:v>3.534904</c:v>
                </c:pt>
                <c:pt idx="2">
                  <c:v>2.4892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382022</c:v>
                </c:pt>
                <c:pt idx="1">
                  <c:v>3.366022</c:v>
                </c:pt>
                <c:pt idx="2">
                  <c:v>2.2729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520399</c:v>
                </c:pt>
                <c:pt idx="1">
                  <c:v>1.579681</c:v>
                </c:pt>
                <c:pt idx="2">
                  <c:v>1.0845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dgewell</c:v>
                </c:pt>
              </c:strCache>
            </c:strRef>
          </c:tx>
          <c:spPr>
            <a:solidFill>
              <a:srgbClr val="7ECAC4"/>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600116</c:v>
                </c:pt>
                <c:pt idx="1">
                  <c:v>0.557333</c:v>
                </c:pt>
                <c:pt idx="2">
                  <c:v>0.27330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e-06</c:v>
                </c:pt>
                <c:pt idx="1">
                  <c:v>5e-06</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0.2</a:t>
                    </a:r>
                  </a:p>
                </c:rich>
              </c:tx>
              <c:showLegendKey val="0"/>
              <c:showVal val="1"/>
              <c:showCatName val="0"/>
              <c:showSerName val="0"/>
              <c:showPercent val="0"/>
              <c:showBubbleSize val="0"/>
            </c:dLbl>
            <c:dLbl>
              <c:idx val="2"/>
              <c:tx>
                <c:rich>
                  <a:bodyPr/>
                  <a:lstStyle/>
                  <a:p>
                    <a:r>
                      <a:rPr>
                        <a:solidFill>
                          <a:srgbClr val="FFFFFF"/>
                        </a:solidFill>
                      </a:rPr>
                      <a:t>7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7.3758</c:v>
                </c:pt>
                <c:pt idx="1">
                  <c:v>110.16433</c:v>
                </c:pt>
                <c:pt idx="2">
                  <c:v>79.4986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6</a:t>
                    </a:r>
                  </a:p>
                </c:rich>
              </c:tx>
              <c:showLegendKey val="0"/>
              <c:showVal val="1"/>
              <c:showCatName val="0"/>
              <c:showSerName val="0"/>
              <c:showPercent val="0"/>
              <c:showBubbleSize val="0"/>
            </c:dLbl>
            <c:dLbl>
              <c:idx val="2"/>
              <c:tx>
                <c:rich>
                  <a:bodyPr/>
                  <a:lstStyle/>
                  <a:p>
                    <a:r>
                      <a:rPr>
                        <a:solidFill>
                          <a:srgbClr val="FFFFFF"/>
                        </a:solidFill>
                      </a:rPr>
                      <a:t>4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7.49775</c:v>
                </c:pt>
                <c:pt idx="1">
                  <c:v>71.568152</c:v>
                </c:pt>
                <c:pt idx="2">
                  <c:v>48.39485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5</a:t>
                    </a:r>
                  </a:p>
                </c:rich>
              </c:tx>
              <c:showLegendKey val="0"/>
              <c:showVal val="1"/>
              <c:showCatName val="0"/>
              <c:showSerName val="0"/>
              <c:showPercent val="0"/>
              <c:showBubbleSize val="0"/>
            </c:dLbl>
            <c:dLbl>
              <c:idx val="2"/>
              <c:tx>
                <c:rich>
                  <a:bodyPr/>
                  <a:lstStyle/>
                  <a:p>
                    <a:r>
                      <a:rPr>
                        <a:solidFill>
                          <a:srgbClr val="FFFFFF"/>
                        </a:solidFill>
                      </a:rPr>
                      <a:t>2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3.495421</c:v>
                </c:pt>
                <c:pt idx="1">
                  <c:v>39.470755</c:v>
                </c:pt>
                <c:pt idx="2">
                  <c:v>29.57904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6.492195</c:v>
                </c:pt>
                <c:pt idx="1">
                  <c:v>20.019585</c:v>
                </c:pt>
                <c:pt idx="2">
                  <c:v>14.42021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1</a:t>
                    </a:r>
                  </a:p>
                </c:rich>
              </c:tx>
              <c:showLegendKey val="0"/>
              <c:showVal val="1"/>
              <c:showCatName val="0"/>
              <c:showSerName val="0"/>
              <c:showPercent val="0"/>
              <c:showBubbleSize val="0"/>
            </c:dLbl>
            <c:dLbl>
              <c:idx val="2"/>
              <c:tx>
                <c:rich>
                  <a:bodyPr/>
                  <a:lstStyle/>
                  <a:p>
                    <a:r>
                      <a:rPr>
                        <a:solidFill>
                          <a:srgbClr val="FFFFFF"/>
                        </a:solidFill>
                      </a:rPr>
                      <a:t>1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359504</c:v>
                </c:pt>
                <c:pt idx="1">
                  <c:v>17.072313</c:v>
                </c:pt>
                <c:pt idx="2">
                  <c:v>16.64367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4.685989</c:v>
                </c:pt>
                <c:pt idx="1">
                  <c:v>11.250239</c:v>
                </c:pt>
                <c:pt idx="2">
                  <c:v>6.89725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4.248804</c:v>
                </c:pt>
                <c:pt idx="1">
                  <c:v>2.871032</c:v>
                </c:pt>
                <c:pt idx="2">
                  <c:v>2.58211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9</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3.984495</c:v>
                </c:pt>
                <c:pt idx="1">
                  <c:v>7.865107</c:v>
                </c:pt>
                <c:pt idx="2">
                  <c:v>3.34397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4.311497</c:v>
                </c:pt>
                <c:pt idx="1">
                  <c:v>3.996092</c:v>
                </c:pt>
                <c:pt idx="2">
                  <c:v>2.36596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1.7</a:t>
                    </a:r>
                  </a:p>
                </c:rich>
              </c:tx>
              <c:showLegendKey val="0"/>
              <c:showVal val="1"/>
              <c:showCatName val="0"/>
              <c:showSerName val="0"/>
              <c:showPercent val="0"/>
              <c:showBubbleSize val="0"/>
            </c:dLbl>
            <c:dLbl>
              <c:idx val="2"/>
              <c:tx>
                <c:rich>
                  <a:bodyPr/>
                  <a:lstStyle/>
                  <a:p>
                    <a:r>
                      <a:rPr>
                        <a:solidFill>
                          <a:srgbClr val="FFFFFF"/>
                        </a:solidFill>
                      </a:rPr>
                      <a:t>9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34.788418</c:v>
                </c:pt>
                <c:pt idx="1">
                  <c:v>131.708109</c:v>
                </c:pt>
                <c:pt idx="2">
                  <c:v>93.9168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360.0</a:t>
                    </a:r>
                  </a:p>
                </c:rich>
              </c:tx>
              <c:showLegendKey val="0"/>
              <c:showVal val="1"/>
              <c:showCatName val="0"/>
              <c:showSerName val="0"/>
              <c:showPercent val="0"/>
              <c:showBubbleSize val="0"/>
            </c:dLbl>
            <c:dLbl>
              <c:idx val="1"/>
              <c:tx>
                <c:rich>
                  <a:bodyPr/>
                  <a:lstStyle/>
                  <a:p>
                    <a:r>
                      <a:rPr>
                        <a:solidFill>
                          <a:srgbClr val="FFFFFF"/>
                        </a:solidFill>
                      </a:rPr>
                      <a:t>364.9</a:t>
                    </a:r>
                  </a:p>
                </c:rich>
              </c:tx>
              <c:showLegendKey val="0"/>
              <c:showVal val="1"/>
              <c:showCatName val="0"/>
              <c:showSerName val="0"/>
              <c:showPercent val="0"/>
              <c:showBubbleSize val="0"/>
            </c:dLbl>
            <c:dLbl>
              <c:idx val="2"/>
              <c:tx>
                <c:rich>
                  <a:bodyPr/>
                  <a:lstStyle/>
                  <a:p>
                    <a:r>
                      <a:rPr>
                        <a:solidFill>
                          <a:srgbClr val="FFFFFF"/>
                        </a:solidFill>
                      </a:rPr>
                      <a:t>26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59.992563</c:v>
                </c:pt>
                <c:pt idx="1">
                  <c:v>364.929417</c:v>
                </c:pt>
                <c:pt idx="2">
                  <c:v>263.47918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a:solidFill>
                          <a:srgbClr val="FFFFFF"/>
                        </a:solidFill>
                      </a:rPr>
                      <a:t>71.1</a:t>
                    </a:r>
                  </a:p>
                </c:rich>
              </c:tx>
              <c:showLegendKey val="0"/>
              <c:showVal val="1"/>
              <c:showCatName val="0"/>
              <c:showSerName val="0"/>
              <c:showPercent val="0"/>
              <c:showBubbleSize val="0"/>
            </c:dLbl>
            <c:dLbl>
              <c:idx val="1"/>
              <c:tx>
                <c:rich>
                  <a:bodyPr/>
                  <a:lstStyle/>
                  <a:p>
                    <a:r>
                      <a:rPr>
                        <a:solidFill>
                          <a:srgbClr val="FFFFFF"/>
                        </a:solidFill>
                      </a:rPr>
                      <a:t>73.5</a:t>
                    </a:r>
                  </a:p>
                </c:rich>
              </c:tx>
              <c:showLegendKey val="0"/>
              <c:showVal val="1"/>
              <c:showCatName val="0"/>
              <c:showSerName val="0"/>
              <c:showPercent val="0"/>
              <c:showBubbleSize val="0"/>
            </c:dLbl>
            <c:dLbl>
              <c:idx val="2"/>
              <c:tx>
                <c:rich>
                  <a:bodyPr/>
                  <a:lstStyle/>
                  <a:p>
                    <a:r>
                      <a:rPr>
                        <a:solidFill>
                          <a:srgbClr val="FFFFFF"/>
                        </a:solidFill>
                      </a:rPr>
                      <a:t>5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1.07563</c:v>
                </c:pt>
                <c:pt idx="1">
                  <c:v>73.478039</c:v>
                </c:pt>
                <c:pt idx="2">
                  <c:v>52.67203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a:solidFill>
                          <a:srgbClr val="FFFFFF"/>
                        </a:solidFill>
                      </a:rPr>
                      <a:t>65.1</a:t>
                    </a:r>
                  </a:p>
                </c:rich>
              </c:tx>
              <c:showLegendKey val="0"/>
              <c:showVal val="1"/>
              <c:showCatName val="0"/>
              <c:showSerName val="0"/>
              <c:showPercent val="0"/>
              <c:showBubbleSize val="0"/>
            </c:dLbl>
            <c:dLbl>
              <c:idx val="1"/>
              <c:tx>
                <c:rich>
                  <a:bodyPr/>
                  <a:lstStyle/>
                  <a:p>
                    <a:r>
                      <a:rPr>
                        <a:solidFill>
                          <a:srgbClr val="FFFFFF"/>
                        </a:solidFill>
                      </a:rPr>
                      <a:t>64.1</a:t>
                    </a:r>
                  </a:p>
                </c:rich>
              </c:tx>
              <c:showLegendKey val="0"/>
              <c:showVal val="1"/>
              <c:showCatName val="0"/>
              <c:showSerName val="0"/>
              <c:showPercent val="0"/>
              <c:showBubbleSize val="0"/>
            </c:dLbl>
            <c:dLbl>
              <c:idx val="2"/>
              <c:tx>
                <c:rich>
                  <a:bodyPr/>
                  <a:lstStyle/>
                  <a:p>
                    <a:r>
                      <a:rPr>
                        <a:solidFill>
                          <a:srgbClr val="FFFFFF"/>
                        </a:solidFill>
                      </a:rPr>
                      <a:t>4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5.116804</c:v>
                </c:pt>
                <c:pt idx="1">
                  <c:v>64.116433</c:v>
                </c:pt>
                <c:pt idx="2">
                  <c:v>44.49152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Flamingo</c:v>
                </c:pt>
              </c:strCache>
            </c:strRef>
          </c:tx>
          <c:spPr>
            <a:solidFill>
              <a:srgbClr val="9B9898"/>
            </a:solidFill>
            <a:ln>
              <a:solidFill>
                <a:schemeClr val="bg1"/>
              </a:solidFill>
            </a:ln>
            <a:effectLst/>
          </c:spPr>
          <c:invertIfNegative val="0"/>
          <c:dLbls>
            <c:dLbl>
              <c:idx val="0"/>
              <c:tx>
                <c:rich>
                  <a:bodyPr/>
                  <a:lstStyle/>
                  <a:p>
                    <a:r>
                      <a:rPr>
                        <a:solidFill>
                          <a:srgbClr val="FFFFFF"/>
                        </a:solidFill>
                      </a:rPr>
                      <a:t>53.2</a:t>
                    </a:r>
                  </a:p>
                </c:rich>
              </c:tx>
              <c:showLegendKey val="0"/>
              <c:showVal val="1"/>
              <c:showCatName val="0"/>
              <c:showSerName val="0"/>
              <c:showPercent val="0"/>
              <c:showBubbleSize val="0"/>
            </c:dLbl>
            <c:dLbl>
              <c:idx val="1"/>
              <c:tx>
                <c:rich>
                  <a:bodyPr/>
                  <a:lstStyle/>
                  <a:p>
                    <a:r>
                      <a:rPr>
                        <a:solidFill>
                          <a:srgbClr val="FFFFFF"/>
                        </a:solidFill>
                      </a:rPr>
                      <a:t>62.3</a:t>
                    </a:r>
                  </a:p>
                </c:rich>
              </c:tx>
              <c:showLegendKey val="0"/>
              <c:showVal val="1"/>
              <c:showCatName val="0"/>
              <c:showSerName val="0"/>
              <c:showPercent val="0"/>
              <c:showBubbleSize val="0"/>
            </c:dLbl>
            <c:dLbl>
              <c:idx val="2"/>
              <c:tx>
                <c:rich>
                  <a:bodyPr/>
                  <a:lstStyle/>
                  <a:p>
                    <a:r>
                      <a:rPr>
                        <a:solidFill>
                          <a:srgbClr val="FFFFFF"/>
                        </a:solidFill>
                      </a:rPr>
                      <a:t>4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3.219016</c:v>
                </c:pt>
                <c:pt idx="1">
                  <c:v>62.270986</c:v>
                </c:pt>
                <c:pt idx="2">
                  <c:v>41.84331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27.6</a:t>
                    </a:r>
                  </a:p>
                </c:rich>
              </c:tx>
              <c:showLegendKey val="0"/>
              <c:showVal val="1"/>
              <c:showCatName val="0"/>
              <c:showSerName val="0"/>
              <c:showPercent val="0"/>
              <c:showBubbleSize val="0"/>
            </c:dLbl>
            <c:dLbl>
              <c:idx val="1"/>
              <c:tx>
                <c:rich>
                  <a:bodyPr/>
                  <a:lstStyle/>
                  <a:p>
                    <a:r>
                      <a:rPr>
                        <a:solidFill>
                          <a:srgbClr val="FFFFFF"/>
                        </a:solidFill>
                      </a:rPr>
                      <a:t>52.8</a:t>
                    </a:r>
                  </a:p>
                </c:rich>
              </c:tx>
              <c:showLegendKey val="0"/>
              <c:showVal val="1"/>
              <c:showCatName val="0"/>
              <c:showSerName val="0"/>
              <c:showPercent val="0"/>
              <c:showBubbleSize val="0"/>
            </c:dLbl>
            <c:dLbl>
              <c:idx val="2"/>
              <c:tx>
                <c:rich>
                  <a:bodyPr/>
                  <a:lstStyle/>
                  <a:p>
                    <a:r>
                      <a:rPr>
                        <a:solidFill>
                          <a:srgbClr val="FFFFFF"/>
                        </a:solidFill>
                      </a:rPr>
                      <a:t>4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7.606146</c:v>
                </c:pt>
                <c:pt idx="1">
                  <c:v>52.775538</c:v>
                </c:pt>
                <c:pt idx="2">
                  <c:v>45.94456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38.0</a:t>
                    </a:r>
                  </a:p>
                </c:rich>
              </c:tx>
              <c:showLegendKey val="0"/>
              <c:showVal val="1"/>
              <c:showCatName val="0"/>
              <c:showSerName val="0"/>
              <c:showPercent val="0"/>
              <c:showBubbleSize val="0"/>
            </c:dLbl>
            <c:dLbl>
              <c:idx val="1"/>
              <c:tx>
                <c:rich>
                  <a:bodyPr/>
                  <a:lstStyle/>
                  <a:p>
                    <a:r>
                      <a:rPr>
                        <a:solidFill>
                          <a:srgbClr val="FFFFFF"/>
                        </a:solidFill>
                      </a:rPr>
                      <a:t>30.3</a:t>
                    </a:r>
                  </a:p>
                </c:rich>
              </c:tx>
              <c:showLegendKey val="0"/>
              <c:showVal val="1"/>
              <c:showCatName val="0"/>
              <c:showSerName val="0"/>
              <c:showPercent val="0"/>
              <c:showBubbleSize val="0"/>
            </c:dLbl>
            <c:dLbl>
              <c:idx val="2"/>
              <c:tx>
                <c:rich>
                  <a:bodyPr/>
                  <a:lstStyle/>
                  <a:p>
                    <a:r>
                      <a:rPr>
                        <a:solidFill>
                          <a:srgbClr val="FFFFFF"/>
                        </a:solidFill>
                      </a:rPr>
                      <a:t>1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8.040578</c:v>
                </c:pt>
                <c:pt idx="1">
                  <c:v>30.323384</c:v>
                </c:pt>
                <c:pt idx="2">
                  <c:v>18.18604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16.9</a:t>
                    </a:r>
                  </a:p>
                </c:rich>
              </c:tx>
              <c:showLegendKey val="0"/>
              <c:showVal val="1"/>
              <c:showCatName val="0"/>
              <c:showSerName val="0"/>
              <c:showPercent val="0"/>
              <c:showBubbleSize val="0"/>
            </c:dLbl>
            <c:dLbl>
              <c:idx val="1"/>
              <c:tx>
                <c:rich>
                  <a:bodyPr/>
                  <a:lstStyle/>
                  <a:p>
                    <a:r>
                      <a:rPr>
                        <a:solidFill>
                          <a:srgbClr val="FFFFFF"/>
                        </a:solidFill>
                      </a:rPr>
                      <a:t>12.9</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6.925713</c:v>
                </c:pt>
                <c:pt idx="1">
                  <c:v>12.880432</c:v>
                </c:pt>
                <c:pt idx="2">
                  <c:v>11.16760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21.1</a:t>
                    </a:r>
                  </a:p>
                </c:rich>
              </c:tx>
              <c:showLegendKey val="0"/>
              <c:showVal val="1"/>
              <c:showCatName val="0"/>
              <c:showSerName val="0"/>
              <c:showPercent val="0"/>
              <c:showBubbleSize val="0"/>
            </c:dLbl>
            <c:dLbl>
              <c:idx val="1"/>
              <c:tx>
                <c:rich>
                  <a:bodyPr/>
                  <a:lstStyle/>
                  <a:p>
                    <a:r>
                      <a:rPr>
                        <a:solidFill>
                          <a:srgbClr val="FFFFFF"/>
                        </a:solidFill>
                      </a:rPr>
                      <a:t>12.9</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21.137565</c:v>
                </c:pt>
                <c:pt idx="1">
                  <c:v>12.854959</c:v>
                </c:pt>
                <c:pt idx="2">
                  <c:v>5.34558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14.7</a:t>
                    </a:r>
                  </a:p>
                </c:rich>
              </c:tx>
              <c:showLegendKey val="0"/>
              <c:showVal val="1"/>
              <c:showCatName val="0"/>
              <c:showSerName val="0"/>
              <c:showPercent val="0"/>
              <c:showBubbleSize val="0"/>
            </c:dLbl>
            <c:dLbl>
              <c:idx val="1"/>
              <c:tx>
                <c:rich>
                  <a:bodyPr/>
                  <a:lstStyle/>
                  <a:p>
                    <a:r>
                      <a:rPr>
                        <a:solidFill>
                          <a:srgbClr val="FFFFFF"/>
                        </a:solidFill>
                      </a:rPr>
                      <a:t>13.7</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4.671189</c:v>
                </c:pt>
                <c:pt idx="1">
                  <c:v>13.743216</c:v>
                </c:pt>
                <c:pt idx="2">
                  <c:v>8.07540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66.5</a:t>
                    </a:r>
                  </a:p>
                </c:rich>
              </c:tx>
              <c:showLegendKey val="0"/>
              <c:showVal val="1"/>
              <c:showCatName val="0"/>
              <c:showSerName val="0"/>
              <c:showPercent val="0"/>
              <c:showBubbleSize val="0"/>
            </c:dLbl>
            <c:dLbl>
              <c:idx val="1"/>
              <c:tx>
                <c:rich>
                  <a:bodyPr/>
                  <a:lstStyle/>
                  <a:p>
                    <a:r>
                      <a:rPr>
                        <a:solidFill>
                          <a:srgbClr val="FFFFFF"/>
                        </a:solidFill>
                      </a:rPr>
                      <a:t>66.8</a:t>
                    </a:r>
                  </a:p>
                </c:rich>
              </c:tx>
              <c:showLegendKey val="0"/>
              <c:showVal val="1"/>
              <c:showCatName val="0"/>
              <c:showSerName val="0"/>
              <c:showPercent val="0"/>
              <c:showBubbleSize val="0"/>
            </c:dLbl>
            <c:dLbl>
              <c:idx val="2"/>
              <c:tx>
                <c:rich>
                  <a:bodyPr/>
                  <a:lstStyle/>
                  <a:p>
                    <a:r>
                      <a:rPr>
                        <a:solidFill>
                          <a:srgbClr val="FFFFFF"/>
                        </a:solidFill>
                      </a:rPr>
                      <a:t>4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66.487325</c:v>
                </c:pt>
                <c:pt idx="1">
                  <c:v>66.773644</c:v>
                </c:pt>
                <c:pt idx="2">
                  <c:v>45.7846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59351</c:v>
                </c:pt>
                <c:pt idx="1">
                  <c:v>0.848024</c:v>
                </c:pt>
                <c:pt idx="2">
                  <c:v>0.60096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61285</c:v>
                </c:pt>
                <c:pt idx="1">
                  <c:v>0.838259</c:v>
                </c:pt>
                <c:pt idx="2">
                  <c:v>0.52287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6894</c:v>
                </c:pt>
                <c:pt idx="1">
                  <c:v>0.20094</c:v>
                </c:pt>
                <c:pt idx="2">
                  <c:v>0.16360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0161</c:v>
                </c:pt>
                <c:pt idx="1">
                  <c:v>0.037605</c:v>
                </c:pt>
                <c:pt idx="2">
                  <c:v>0.01982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699267</c:v>
                </c:pt>
                <c:pt idx="1">
                  <c:v>3.698691</c:v>
                </c:pt>
                <c:pt idx="2">
                  <c:v>3.31873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97152</c:v>
                </c:pt>
                <c:pt idx="1">
                  <c:v>1.469101</c:v>
                </c:pt>
                <c:pt idx="2">
                  <c:v>1.19531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05757</c:v>
                </c:pt>
                <c:pt idx="1">
                  <c:v>0.656551</c:v>
                </c:pt>
                <c:pt idx="2">
                  <c:v>0.49406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630899</c:v>
                </c:pt>
                <c:pt idx="1">
                  <c:v>0.702106</c:v>
                </c:pt>
                <c:pt idx="2">
                  <c:v>0.4207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163586</c:v>
                </c:pt>
                <c:pt idx="2">
                  <c:v>0.07160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4028</c:v>
                </c:pt>
                <c:pt idx="1">
                  <c:v>0.119688</c:v>
                </c:pt>
                <c:pt idx="2">
                  <c:v>0.07111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03708</c:v>
                </c:pt>
                <c:pt idx="1">
                  <c:v>0.005173</c:v>
                </c:pt>
                <c:pt idx="2">
                  <c:v>0.00536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31852</c:v>
                </c:pt>
                <c:pt idx="1">
                  <c:v>0.10193</c:v>
                </c:pt>
                <c:pt idx="2">
                  <c:v>0.0420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9.4</a:t>
                    </a:r>
                  </a:p>
                </c:rich>
              </c:tx>
              <c:showLegendKey val="0"/>
              <c:showVal val="1"/>
              <c:showCatName val="0"/>
              <c:showSerName val="0"/>
              <c:showPercent val="0"/>
              <c:showBubbleSize val="0"/>
            </c:dLbl>
            <c:dLbl>
              <c:idx val="1"/>
              <c:tx>
                <c:rich>
                  <a:bodyPr/>
                  <a:lstStyle/>
                  <a:p>
                    <a:r>
                      <a:rPr>
                        <a:solidFill>
                          <a:srgbClr val="FFFFFF"/>
                        </a:solidFill>
                      </a:rPr>
                      <a:t>8.8</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351392</c:v>
                </c:pt>
                <c:pt idx="1">
                  <c:v>8.808615</c:v>
                </c:pt>
                <c:pt idx="2">
                  <c:v>7.87080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a:solidFill>
                          <a:srgbClr val="FFFFFF"/>
                        </a:solidFill>
                      </a:rPr>
                      <a:t>4.1</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104482</c:v>
                </c:pt>
                <c:pt idx="1">
                  <c:v>4.774594</c:v>
                </c:pt>
                <c:pt idx="2">
                  <c:v>3.6705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999</c:v>
                </c:pt>
                <c:pt idx="1">
                  <c:v>2.121696</c:v>
                </c:pt>
                <c:pt idx="2">
                  <c:v>1.7065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928094</c:v>
                </c:pt>
                <c:pt idx="1">
                  <c:v>1.125835</c:v>
                </c:pt>
                <c:pt idx="2">
                  <c:v>0.77015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599565</c:v>
                </c:pt>
                <c:pt idx="2">
                  <c:v>0.26296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Quattro</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76991</c:v>
                </c:pt>
                <c:pt idx="1">
                  <c:v>0.281345</c:v>
                </c:pt>
                <c:pt idx="2">
                  <c:v>0.16552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13619</c:v>
                </c:pt>
                <c:pt idx="1">
                  <c:v>0.020737</c:v>
                </c:pt>
                <c:pt idx="2">
                  <c:v>0.02091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26373</c:v>
                </c:pt>
                <c:pt idx="1">
                  <c:v>0.226828</c:v>
                </c:pt>
                <c:pt idx="2">
                  <c:v>0.09051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49316</c:v>
                </c:pt>
                <c:pt idx="1">
                  <c:v>0.369019</c:v>
                </c:pt>
                <c:pt idx="2">
                  <c:v>0.1810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6e-05</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567</c:v>
                </c:pt>
                <c:pt idx="1">
                  <c:v>2.400552</c:v>
                </c:pt>
                <c:pt idx="2">
                  <c:v>1.1885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2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85565</c:v>
                </c:pt>
                <c:pt idx="1">
                  <c:v>3.316808</c:v>
                </c:pt>
                <c:pt idx="2">
                  <c:v>2.41504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3.6</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592986</c:v>
                </c:pt>
                <c:pt idx="1">
                  <c:v>3.191585</c:v>
                </c:pt>
                <c:pt idx="2">
                  <c:v>1.97542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9667</c:v>
                </c:pt>
                <c:pt idx="1">
                  <c:v>0.388001</c:v>
                </c:pt>
                <c:pt idx="2">
                  <c:v>0.30893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8444</c:v>
                </c:pt>
                <c:pt idx="1">
                  <c:v>0.051708</c:v>
                </c:pt>
                <c:pt idx="2">
                  <c:v>0.03078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129132</c:v>
                </c:pt>
                <c:pt idx="1">
                  <c:v>1.814571</c:v>
                </c:pt>
                <c:pt idx="2">
                  <c:v>0.9592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9.1</a:t>
                    </a:r>
                  </a:p>
                </c:rich>
              </c:tx>
              <c:showLegendKey val="0"/>
              <c:showVal val="1"/>
              <c:showCatName val="0"/>
              <c:showSerName val="0"/>
              <c:showPercent val="0"/>
              <c:showBubbleSize val="0"/>
            </c:dLbl>
            <c:dLbl>
              <c:idx val="1"/>
              <c:tx>
                <c:rich>
                  <a:bodyPr/>
                  <a:lstStyle/>
                  <a:p>
                    <a:r>
                      <a:rPr>
                        <a:solidFill>
                          <a:srgbClr val="FFFFFF"/>
                        </a:solidFill>
                      </a:rPr>
                      <a:t>8.4</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130591</c:v>
                </c:pt>
                <c:pt idx="1">
                  <c:v>8.357244</c:v>
                </c:pt>
                <c:pt idx="2">
                  <c:v>4.39591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2</a:t>
                    </a:r>
                  </a:p>
                </c:rich>
              </c:tx>
              <c:showLegendKey val="0"/>
              <c:showVal val="1"/>
              <c:showCatName val="0"/>
              <c:showSerName val="0"/>
              <c:showPercent val="0"/>
              <c:showBubbleSize val="0"/>
            </c:dLbl>
            <c:dLbl>
              <c:idx val="2"/>
              <c:tx>
                <c:rich>
                  <a:bodyPr/>
                  <a:lstStyle/>
                  <a:p>
                    <a:r>
                      <a:rPr>
                        <a:solidFill>
                          <a:srgbClr val="FFFFFF"/>
                        </a:solidFill>
                      </a:rPr>
                      <a:t>2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3.231153</c:v>
                </c:pt>
                <c:pt idx="1">
                  <c:v>35.208231</c:v>
                </c:pt>
                <c:pt idx="2">
                  <c:v>25.1254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1</a:t>
                    </a:r>
                  </a:p>
                </c:rich>
              </c:tx>
              <c:showLegendKey val="0"/>
              <c:showVal val="1"/>
              <c:showCatName val="0"/>
              <c:showSerName val="0"/>
              <c:showPercent val="0"/>
              <c:showBubbleSize val="0"/>
            </c:dLbl>
            <c:dLbl>
              <c:idx val="2"/>
              <c:tx>
                <c:rich>
                  <a:bodyPr/>
                  <a:lstStyle/>
                  <a:p>
                    <a:r>
                      <a:rPr>
                        <a:solidFill>
                          <a:srgbClr val="FFFFFF"/>
                        </a:solidFill>
                      </a:rPr>
                      <a:t>2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5.723396</c:v>
                </c:pt>
                <c:pt idx="1">
                  <c:v>41.073649</c:v>
                </c:pt>
                <c:pt idx="2">
                  <c:v>28.09946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7.720263</c:v>
                </c:pt>
                <c:pt idx="1">
                  <c:v>8.719634</c:v>
                </c:pt>
                <c:pt idx="2">
                  <c:v>6.352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5</a:t>
                    </a:r>
                  </a:p>
                </c:rich>
              </c:tx>
              <c:showLegendKey val="0"/>
              <c:showVal val="1"/>
              <c:showCatName val="0"/>
              <c:showSerName val="0"/>
              <c:showPercent val="0"/>
              <c:showBubbleSize val="0"/>
            </c:dLbl>
            <c:dLbl>
              <c:idx val="2"/>
              <c:tx>
                <c:rich>
                  <a:bodyPr/>
                  <a:lstStyle/>
                  <a:p>
                    <a:r>
                      <a:rPr>
                        <a:solidFill>
                          <a:srgbClr val="FFFFFF"/>
                        </a:solidFill>
                      </a:rPr>
                      <a:t>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8.579311</c:v>
                </c:pt>
                <c:pt idx="1">
                  <c:v>16.523813</c:v>
                </c:pt>
                <c:pt idx="2">
                  <c:v>8.47147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0</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0.338203</c:v>
                </c:pt>
                <c:pt idx="1">
                  <c:v>8.039875</c:v>
                </c:pt>
                <c:pt idx="2">
                  <c:v>5.27216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Bic Silky Touch</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3</a:t>
                    </a:r>
                  </a:p>
                </c:rich>
              </c:tx>
              <c:showLegendKey val="0"/>
              <c:showVal val="1"/>
              <c:showCatName val="0"/>
              <c:showSerName val="0"/>
              <c:showPercent val="0"/>
              <c:showBubbleSize val="0"/>
            </c:dLbl>
            <c:dLbl>
              <c:idx val="2"/>
              <c:tx>
                <c:rich>
                  <a:bodyPr/>
                  <a:lstStyle/>
                  <a:p>
                    <a:r>
                      <a:rPr>
                        <a:solidFill>
                          <a:srgbClr val="FFFFFF"/>
                        </a:solidFill>
                      </a:rPr>
                      <a:t>3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51.20777</c:v>
                </c:pt>
                <c:pt idx="1">
                  <c:v>52.253419</c:v>
                </c:pt>
                <c:pt idx="2">
                  <c:v>39.332734</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865557</c:v>
                </c:pt>
                <c:pt idx="1">
                  <c:v>1.178726</c:v>
                </c:pt>
                <c:pt idx="2">
                  <c:v>0.85218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130335</c:v>
                </c:pt>
                <c:pt idx="1">
                  <c:v>1.031538</c:v>
                </c:pt>
                <c:pt idx="2">
                  <c:v>0.699735</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3.738412</c:v>
                </c:pt>
                <c:pt idx="1">
                  <c:v>1.283631</c:v>
                </c:pt>
                <c:pt idx="2">
                  <c:v>0.08181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8</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6.042738</c:v>
                </c:pt>
                <c:pt idx="1">
                  <c:v>7.761462</c:v>
                </c:pt>
                <c:pt idx="2">
                  <c:v>5.5312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92.6</a:t>
                    </a:r>
                  </a:p>
                </c:rich>
              </c:tx>
              <c:showLegendKey val="0"/>
              <c:showVal val="1"/>
              <c:showCatName val="0"/>
              <c:showSerName val="0"/>
              <c:showPercent val="0"/>
              <c:showBubbleSize val="0"/>
            </c:dLbl>
            <c:dLbl>
              <c:idx val="1"/>
              <c:tx>
                <c:rich>
                  <a:bodyPr/>
                  <a:lstStyle/>
                  <a:p>
                    <a:r>
                      <a:rPr>
                        <a:solidFill>
                          <a:srgbClr val="FFFFFF"/>
                        </a:solidFill>
                      </a:rPr>
                      <a:t>93.1</a:t>
                    </a:r>
                  </a:p>
                </c:rich>
              </c:tx>
              <c:showLegendKey val="0"/>
              <c:showVal val="1"/>
              <c:showCatName val="0"/>
              <c:showSerName val="0"/>
              <c:showPercent val="0"/>
              <c:showBubbleSize val="0"/>
            </c:dLbl>
            <c:dLbl>
              <c:idx val="2"/>
              <c:tx>
                <c:rich>
                  <a:bodyPr/>
                  <a:lstStyle/>
                  <a:p>
                    <a:r>
                      <a:rPr>
                        <a:solidFill>
                          <a:srgbClr val="FFFFFF"/>
                        </a:solidFill>
                      </a:rPr>
                      <a:t>6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2.644027</c:v>
                </c:pt>
                <c:pt idx="1">
                  <c:v>93.119434</c:v>
                </c:pt>
                <c:pt idx="2">
                  <c:v>68.4118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a:solidFill>
                          <a:srgbClr val="FFFFFF"/>
                        </a:solidFill>
                      </a:rPr>
                      <a:t>39.7</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2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9.691572</c:v>
                </c:pt>
                <c:pt idx="1">
                  <c:v>40.377045</c:v>
                </c:pt>
                <c:pt idx="2">
                  <c:v>29.9453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llie</c:v>
                </c:pt>
              </c:strCache>
            </c:strRef>
          </c:tx>
          <c:spPr>
            <a:solidFill>
              <a:srgbClr val="00A097"/>
            </a:solidFill>
            <a:ln>
              <a:solidFill>
                <a:schemeClr val="bg1"/>
              </a:solidFill>
            </a:ln>
            <a:effectLst/>
          </c:spPr>
          <c:invertIfNegative val="0"/>
          <c:dLbls>
            <c:dLbl>
              <c:idx val="0"/>
              <c:tx>
                <c:rich>
                  <a:bodyPr/>
                  <a:lstStyle/>
                  <a:p>
                    <a:r>
                      <a:rPr>
                        <a:solidFill>
                          <a:srgbClr val="FFFFFF"/>
                        </a:solidFill>
                      </a:rPr>
                      <a:t>28.9</a:t>
                    </a:r>
                  </a:p>
                </c:rich>
              </c:tx>
              <c:showLegendKey val="0"/>
              <c:showVal val="1"/>
              <c:showCatName val="0"/>
              <c:showSerName val="0"/>
              <c:showPercent val="0"/>
              <c:showBubbleSize val="0"/>
            </c:dLbl>
            <c:dLbl>
              <c:idx val="1"/>
              <c:tx>
                <c:rich>
                  <a:bodyPr/>
                  <a:lstStyle/>
                  <a:p>
                    <a:r>
                      <a:rPr>
                        <a:solidFill>
                          <a:srgbClr val="FFFFFF"/>
                        </a:solidFill>
                      </a:rPr>
                      <a:t>27.2</a:t>
                    </a:r>
                  </a:p>
                </c:rich>
              </c:tx>
              <c:showLegendKey val="0"/>
              <c:showVal val="1"/>
              <c:showCatName val="0"/>
              <c:showSerName val="0"/>
              <c:showPercent val="0"/>
              <c:showBubbleSize val="0"/>
            </c:dLbl>
            <c:dLbl>
              <c:idx val="2"/>
              <c:tx>
                <c:rich>
                  <a:bodyPr/>
                  <a:lstStyle/>
                  <a:p>
                    <a:r>
                      <a:rPr>
                        <a:solidFill>
                          <a:srgbClr val="FFFFFF"/>
                        </a:solidFill>
                      </a:rPr>
                      <a:t>1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8.899499</c:v>
                </c:pt>
                <c:pt idx="1">
                  <c:v>27.178088</c:v>
                </c:pt>
                <c:pt idx="2">
                  <c:v>19.04193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a:solidFill>
                          <a:srgbClr val="FFFFFF"/>
                        </a:solidFill>
                      </a:rPr>
                      <a:t>27.4</a:t>
                    </a:r>
                  </a:p>
                </c:rich>
              </c:tx>
              <c:showLegendKey val="0"/>
              <c:showVal val="1"/>
              <c:showCatName val="0"/>
              <c:showSerName val="0"/>
              <c:showPercent val="0"/>
              <c:showBubbleSize val="0"/>
            </c:dLbl>
            <c:dLbl>
              <c:idx val="1"/>
              <c:tx>
                <c:rich>
                  <a:bodyPr/>
                  <a:lstStyle/>
                  <a:p>
                    <a:r>
                      <a:rPr>
                        <a:solidFill>
                          <a:srgbClr val="FFFFFF"/>
                        </a:solidFill>
                      </a:rPr>
                      <a:t>28.0</a:t>
                    </a:r>
                  </a:p>
                </c:rich>
              </c:tx>
              <c:showLegendKey val="0"/>
              <c:showVal val="1"/>
              <c:showCatName val="0"/>
              <c:showSerName val="0"/>
              <c:showPercent val="0"/>
              <c:showBubbleSize val="0"/>
            </c:dLbl>
            <c:dLbl>
              <c:idx val="2"/>
              <c:tx>
                <c:rich>
                  <a:bodyPr/>
                  <a:lstStyle/>
                  <a:p>
                    <a:r>
                      <a:rPr>
                        <a:solidFill>
                          <a:srgbClr val="FFFFFF"/>
                        </a:solidFill>
                      </a:rPr>
                      <a:t>1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403203</c:v>
                </c:pt>
                <c:pt idx="1">
                  <c:v>27.964145</c:v>
                </c:pt>
                <c:pt idx="2">
                  <c:v>15.14929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25.3</a:t>
                    </a:r>
                  </a:p>
                </c:rich>
              </c:tx>
              <c:showLegendKey val="0"/>
              <c:showVal val="1"/>
              <c:showCatName val="0"/>
              <c:showSerName val="0"/>
              <c:showPercent val="0"/>
              <c:showBubbleSize val="0"/>
            </c:dLbl>
            <c:dLbl>
              <c:idx val="1"/>
              <c:tx>
                <c:rich>
                  <a:bodyPr/>
                  <a:lstStyle/>
                  <a:p>
                    <a:r>
                      <a:rPr>
                        <a:solidFill>
                          <a:srgbClr val="FFFFFF"/>
                        </a:solidFill>
                      </a:rPr>
                      <a:t>21.5</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5.322304</c:v>
                </c:pt>
                <c:pt idx="1">
                  <c:v>21.502015</c:v>
                </c:pt>
                <c:pt idx="2">
                  <c:v>14.00421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a:solidFill>
                          <a:srgbClr val="FFFFFF"/>
                        </a:solidFill>
                      </a:rPr>
                      <a:t>15.2</a:t>
                    </a:r>
                  </a:p>
                </c:rich>
              </c:tx>
              <c:showLegendKey val="0"/>
              <c:showVal val="1"/>
              <c:showCatName val="0"/>
              <c:showSerName val="0"/>
              <c:showPercent val="0"/>
              <c:showBubbleSize val="0"/>
            </c:dLbl>
            <c:dLbl>
              <c:idx val="1"/>
              <c:tx>
                <c:rich>
                  <a:bodyPr/>
                  <a:lstStyle/>
                  <a:p>
                    <a:r>
                      <a:rPr>
                        <a:solidFill>
                          <a:srgbClr val="FFFFFF"/>
                        </a:solidFill>
                      </a:rPr>
                      <a:t>15.1</a:t>
                    </a:r>
                  </a:p>
                </c:rich>
              </c:tx>
              <c:showLegendKey val="0"/>
              <c:showVal val="1"/>
              <c:showCatName val="0"/>
              <c:showSerName val="0"/>
              <c:showPercent val="0"/>
              <c:showBubbleSize val="0"/>
            </c:dLbl>
            <c:dLbl>
              <c:idx val="2"/>
              <c:tx>
                <c:rich>
                  <a:bodyPr/>
                  <a:lstStyle/>
                  <a:p>
                    <a:r>
                      <a:rPr>
                        <a:solidFill>
                          <a:srgbClr val="FFFFFF"/>
                        </a:solidFill>
                      </a:rPr>
                      <a:t>1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5.249962</c:v>
                </c:pt>
                <c:pt idx="1">
                  <c:v>15.118104</c:v>
                </c:pt>
                <c:pt idx="2">
                  <c:v>11.07740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6.6</a:t>
                    </a:r>
                  </a:p>
                </c:rich>
              </c:tx>
              <c:showLegendKey val="0"/>
              <c:showVal val="1"/>
              <c:showCatName val="0"/>
              <c:showSerName val="0"/>
              <c:showPercent val="0"/>
              <c:showBubbleSize val="0"/>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6.619994</c:v>
                </c:pt>
                <c:pt idx="1">
                  <c:v>4.77634</c:v>
                </c:pt>
                <c:pt idx="2">
                  <c:v>3.59600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4.0</a:t>
                    </a:r>
                  </a:p>
                </c:rich>
              </c:tx>
              <c:showLegendKey val="0"/>
              <c:showVal val="1"/>
              <c:showCatName val="0"/>
              <c:showSerName val="0"/>
              <c:showPercent val="0"/>
              <c:showBubbleSize val="0"/>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992619</c:v>
                </c:pt>
                <c:pt idx="1">
                  <c:v>3.595482</c:v>
                </c:pt>
                <c:pt idx="2">
                  <c:v>2.35774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5.194416</c:v>
                </c:pt>
                <c:pt idx="1">
                  <c:v>1.845074</c:v>
                </c:pt>
                <c:pt idx="2">
                  <c:v>0.08024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5.5</a:t>
                    </a:r>
                  </a:p>
                </c:rich>
              </c:tx>
              <c:showLegendKey val="0"/>
              <c:showVal val="1"/>
              <c:showCatName val="0"/>
              <c:showSerName val="0"/>
              <c:showPercent val="0"/>
              <c:showBubbleSize val="0"/>
            </c:dLbl>
            <c:dLbl>
              <c:idx val="1"/>
              <c:tx>
                <c:rich>
                  <a:bodyPr/>
                  <a:lstStyle/>
                  <a:p>
                    <a:r>
                      <a:rPr>
                        <a:solidFill>
                          <a:srgbClr val="FFFFFF"/>
                        </a:solidFill>
                      </a:rPr>
                      <a:t>10.8</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5.470605</c:v>
                </c:pt>
                <c:pt idx="1">
                  <c:v>10.768461</c:v>
                </c:pt>
                <c:pt idx="2">
                  <c:v>8.32362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Amazon</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193867</c:v>
                </c:pt>
                <c:pt idx="1">
                  <c:v>3.979374</c:v>
                </c:pt>
                <c:pt idx="2">
                  <c:v>2.91286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833573</c:v>
                </c:pt>
                <c:pt idx="1">
                  <c:v>0.649385</c:v>
                </c:pt>
                <c:pt idx="2">
                  <c:v>0.3512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71408</c:v>
                </c:pt>
                <c:pt idx="1">
                  <c:v>0.324513</c:v>
                </c:pt>
                <c:pt idx="2">
                  <c:v>0.2693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656445</c:v>
                </c:pt>
                <c:pt idx="1">
                  <c:v>0.448123</c:v>
                </c:pt>
                <c:pt idx="2">
                  <c:v>0.2043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37656</c:v>
                </c:pt>
                <c:pt idx="2">
                  <c:v>0.00727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8807</c:v>
                </c:pt>
                <c:pt idx="1">
                  <c:v>0.029214</c:v>
                </c:pt>
                <c:pt idx="2">
                  <c:v>0.016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Amazon</c:v>
                </c:pt>
              </c:strCache>
            </c:strRef>
          </c:tx>
          <c:spPr>
            <a:solidFill>
              <a:srgbClr val="D9D9D9"/>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421666</c:v>
                </c:pt>
                <c:pt idx="1">
                  <c:v>5.939095</c:v>
                </c:pt>
                <c:pt idx="2">
                  <c:v>4.2461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012578</c:v>
                </c:pt>
                <c:pt idx="1">
                  <c:v>2.401581</c:v>
                </c:pt>
                <c:pt idx="2">
                  <c:v>1.3279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1.2</a:t>
                    </a:r>
                  </a:p>
                </c:rich>
              </c:tx>
              <c:showLegendKey val="0"/>
              <c:showVal val="1"/>
              <c:showCatName val="0"/>
              <c:showSerName val="0"/>
              <c:showPercent val="0"/>
              <c:showBubbleSize val="0"/>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202997</c:v>
                </c:pt>
                <c:pt idx="1">
                  <c:v>1.576454</c:v>
                </c:pt>
                <c:pt idx="2">
                  <c:v>1.37121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Quattro</c:v>
                </c:pt>
              </c:strCache>
            </c:strRef>
          </c:tx>
          <c:spPr>
            <a:solidFill>
              <a:srgbClr val="9B9898"/>
            </a:solidFill>
            <a:ln>
              <a:solidFill>
                <a:schemeClr val="bg1"/>
              </a:solidFill>
            </a:ln>
            <a:effectLst/>
          </c:spPr>
          <c:invertIfNegative val="0"/>
          <c:dLbls>
            <c:dLbl>
              <c:idx val="0"/>
              <c:tx>
                <c:rich>
                  <a:bodyPr/>
                  <a:lstStyle/>
                  <a:p>
                    <a:r>
                      <a:rPr>
                        <a:solidFill>
                          <a:srgbClr val="FFFFFF"/>
                        </a:solidFill>
                      </a:rPr>
                      <a:t>1.3</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270062</c:v>
                </c:pt>
                <c:pt idx="1">
                  <c:v>0.992663</c:v>
                </c:pt>
                <c:pt idx="2">
                  <c:v>0.37504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37522</c:v>
                </c:pt>
                <c:pt idx="2">
                  <c:v>0.00743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83855</c:v>
                </c:pt>
                <c:pt idx="1">
                  <c:v>0.140055</c:v>
                </c:pt>
                <c:pt idx="2">
                  <c:v>0.103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158238</c:v>
                </c:pt>
                <c:pt idx="1">
                  <c:v>3.288127</c:v>
                </c:pt>
                <c:pt idx="2">
                  <c:v>2.8822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63435</c:v>
                </c:pt>
                <c:pt idx="1">
                  <c:v>1.407142</c:v>
                </c:pt>
                <c:pt idx="2">
                  <c:v>1.1551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99847</c:v>
                </c:pt>
                <c:pt idx="1">
                  <c:v>0.23469</c:v>
                </c:pt>
                <c:pt idx="2">
                  <c:v>0.18747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9915</c:v>
                </c:pt>
                <c:pt idx="1">
                  <c:v>0.133237</c:v>
                </c:pt>
                <c:pt idx="2">
                  <c:v>0.09429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153475</c:v>
                </c:pt>
                <c:pt idx="2">
                  <c:v>0.06516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3.2e-05</c:v>
                </c:pt>
                <c:pt idx="1">
                  <c:v>4e-06</c:v>
                </c:pt>
                <c:pt idx="2">
                  <c:v>1.2e-0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64201</c:v>
                </c:pt>
                <c:pt idx="1">
                  <c:v>0.07134</c:v>
                </c:pt>
                <c:pt idx="2">
                  <c:v>0.02207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7.1</a:t>
                    </a:r>
                  </a:p>
                </c:rich>
              </c:tx>
              <c:showLegendKey val="0"/>
              <c:showVal val="1"/>
              <c:showCatName val="0"/>
              <c:showSerName val="0"/>
              <c:showPercent val="0"/>
              <c:showBubbleSize val="0"/>
            </c:dLbl>
            <c:dLbl>
              <c:idx val="1"/>
              <c:tx>
                <c:rich>
                  <a:bodyPr/>
                  <a:lstStyle/>
                  <a:p>
                    <a:r>
                      <a:rPr>
                        <a:solidFill>
                          <a:srgbClr val="FFFFFF"/>
                        </a:solidFill>
                      </a:rPr>
                      <a:t>7.0</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073499</c:v>
                </c:pt>
                <c:pt idx="1">
                  <c:v>7.030571</c:v>
                </c:pt>
                <c:pt idx="2">
                  <c:v>6.12927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Hydro Silk</c:v>
                </c:pt>
              </c:strCache>
            </c:strRef>
          </c:tx>
          <c:spPr>
            <a:solidFill>
              <a:srgbClr val="006C6D"/>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652733</c:v>
                </c:pt>
                <c:pt idx="1">
                  <c:v>4.56422</c:v>
                </c:pt>
                <c:pt idx="2">
                  <c:v>3.53952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Intuition</c:v>
                </c:pt>
              </c:strCache>
            </c:strRef>
          </c:tx>
          <c:spPr>
            <a:solidFill>
              <a:srgbClr val="00A097"/>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77538</c:v>
                </c:pt>
                <c:pt idx="1">
                  <c:v>0.816463</c:v>
                </c:pt>
                <c:pt idx="2">
                  <c:v>0.65891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 Soleil</c:v>
                </c:pt>
              </c:strCache>
            </c:strRef>
          </c:tx>
          <c:spPr>
            <a:solidFill>
              <a:srgbClr val="9B9898"/>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12768</c:v>
                </c:pt>
                <c:pt idx="1">
                  <c:v>0.329241</c:v>
                </c:pt>
                <c:pt idx="2">
                  <c:v>0.27528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llie</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566469</c:v>
                </c:pt>
                <c:pt idx="2">
                  <c:v>0.2396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9.4e-05</c:v>
                </c:pt>
                <c:pt idx="1">
                  <c:v>1.7e-05</c:v>
                </c:pt>
                <c:pt idx="2">
                  <c:v>4.6e-0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47843</c:v>
                </c:pt>
                <c:pt idx="1">
                  <c:v>0.146938</c:v>
                </c:pt>
                <c:pt idx="2">
                  <c:v>0.0476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49316</c:v>
                </c:pt>
                <c:pt idx="1">
                  <c:v>0.369019</c:v>
                </c:pt>
                <c:pt idx="2">
                  <c:v>0.1810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6e-05</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6567</c:v>
                </c:pt>
                <c:pt idx="1">
                  <c:v>2.400552</c:v>
                </c:pt>
                <c:pt idx="2">
                  <c:v>1.1885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2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828285</c:v>
                </c:pt>
                <c:pt idx="1">
                  <c:v>3.063591</c:v>
                </c:pt>
                <c:pt idx="2">
                  <c:v>2.8227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88334</c:v>
                </c:pt>
                <c:pt idx="1">
                  <c:v>0.797109</c:v>
                </c:pt>
                <c:pt idx="2">
                  <c:v>0.4984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93242</c:v>
                </c:pt>
                <c:pt idx="1">
                  <c:v>0.740684</c:v>
                </c:pt>
                <c:pt idx="2">
                  <c:v>0.59237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738896</c:v>
                </c:pt>
                <c:pt idx="1">
                  <c:v>0.714564</c:v>
                </c:pt>
                <c:pt idx="2">
                  <c:v>0.43590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8518</c:v>
                </c:pt>
                <c:pt idx="1">
                  <c:v>0.006027</c:v>
                </c:pt>
                <c:pt idx="2">
                  <c:v>0.0410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1108</c:v>
                </c:pt>
                <c:pt idx="1">
                  <c:v>0.000611</c:v>
                </c:pt>
                <c:pt idx="2">
                  <c:v>0.00034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9.6</a:t>
                    </a:r>
                  </a:p>
                </c:rich>
              </c:tx>
              <c:showLegendKey val="0"/>
              <c:showVal val="1"/>
              <c:showCatName val="0"/>
              <c:showSerName val="0"/>
              <c:showPercent val="0"/>
              <c:showBubbleSize val="0"/>
            </c:dLbl>
            <c:dLbl>
              <c:idx val="1"/>
              <c:tx>
                <c:rich>
                  <a:bodyPr/>
                  <a:lstStyle/>
                  <a:p>
                    <a:r>
                      <a:rPr>
                        <a:solidFill>
                          <a:srgbClr val="FFFFFF"/>
                        </a:solidFill>
                      </a:rPr>
                      <a:t>9.7</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57392</c:v>
                </c:pt>
                <c:pt idx="1">
                  <c:v>9.674608</c:v>
                </c:pt>
                <c:pt idx="2">
                  <c:v>8.1710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Intuition</c:v>
                </c:pt>
              </c:strCache>
            </c:strRef>
          </c:tx>
          <c:spPr>
            <a:solidFill>
              <a:srgbClr val="006C6D"/>
            </a:solidFill>
            <a:ln>
              <a:solidFill>
                <a:schemeClr val="bg1"/>
              </a:solidFill>
            </a:ln>
            <a:effectLst/>
          </c:spPr>
          <c:invertIfNegative val="0"/>
          <c:dLbls>
            <c:dLbl>
              <c:idx val="0"/>
              <c:tx>
                <c:rich>
                  <a:bodyPr/>
                  <a:lstStyle/>
                  <a:p>
                    <a:r>
                      <a:rPr>
                        <a:solidFill>
                          <a:srgbClr val="FFFFFF"/>
                        </a:solidFill>
                      </a:rPr>
                      <a:t>3.5</a:t>
                    </a:r>
                  </a:p>
                </c:rich>
              </c:tx>
              <c:showLegendKey val="0"/>
              <c:showVal val="1"/>
              <c:showCatName val="0"/>
              <c:showSerName val="0"/>
              <c:showPercent val="0"/>
              <c:showBubbleSize val="0"/>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95148</c:v>
                </c:pt>
                <c:pt idx="1">
                  <c:v>3.758353</c:v>
                </c:pt>
                <c:pt idx="2">
                  <c:v>2.3275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ydro Silk</c:v>
                </c:pt>
              </c:strCache>
            </c:strRef>
          </c:tx>
          <c:spPr>
            <a:solidFill>
              <a:srgbClr val="00A097"/>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419034</c:v>
                </c:pt>
                <c:pt idx="1">
                  <c:v>3.579296</c:v>
                </c:pt>
                <c:pt idx="2">
                  <c:v>2.52775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kintimate</c:v>
                </c:pt>
              </c:strCache>
            </c:strRef>
          </c:tx>
          <c:spPr>
            <a:solidFill>
              <a:srgbClr val="7ECAC4"/>
            </a:solidFill>
            <a:ln>
              <a:solidFill>
                <a:schemeClr val="bg1"/>
              </a:solidFill>
            </a:ln>
            <a:effectLst/>
          </c:spPr>
          <c:invertIfNegative val="0"/>
          <c:dLbls>
            <c:dLbl>
              <c:idx val="0"/>
              <c:tx>
                <c:rich>
                  <a:bodyPr/>
                  <a:lstStyle/>
                  <a:p>
                    <a:r>
                      <a:rPr>
                        <a:solidFill>
                          <a:srgbClr val="FFFFFF"/>
                        </a:solidFill>
                      </a:rPr>
                      <a:t>1.4</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401215</c:v>
                </c:pt>
                <c:pt idx="1">
                  <c:v>1.4183</c:v>
                </c:pt>
                <c:pt idx="2">
                  <c:v>0.88570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Flamingo</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70969</c:v>
                </c:pt>
                <c:pt idx="1">
                  <c:v>0.017255</c:v>
                </c:pt>
                <c:pt idx="2">
                  <c:v>0.28611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2358</c:v>
                </c:pt>
                <c:pt idx="1">
                  <c:v>0.00132</c:v>
                </c:pt>
                <c:pt idx="2">
                  <c:v>0.0008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800747</c:v>
                </c:pt>
                <c:pt idx="1">
                  <c:v>5.122879</c:v>
                </c:pt>
                <c:pt idx="2">
                  <c:v>3.63339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240705</c:v>
                </c:pt>
                <c:pt idx="1">
                  <c:v>5.739385</c:v>
                </c:pt>
                <c:pt idx="2">
                  <c:v>3.8100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593868</c:v>
                </c:pt>
                <c:pt idx="1">
                  <c:v>2.249175</c:v>
                </c:pt>
                <c:pt idx="2">
                  <c:v>1.13072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37515</c:v>
                </c:pt>
                <c:pt idx="1">
                  <c:v>0.815816</c:v>
                </c:pt>
                <c:pt idx="2">
                  <c:v>0.56684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a:t>
                    </a:r>
                  </a:p>
                </c:rich>
              </c:tx>
              <c:showLegendKey val="0"/>
              <c:showVal val="1"/>
              <c:showCatName val="0"/>
              <c:showSerName val="0"/>
              <c:showPercent val="0"/>
              <c:showBubbleSize val="0"/>
            </c:dLbl>
            <c:dLbl>
              <c:idx val="2"/>
              <c:tx>
                <c:rich>
                  <a:bodyPr/>
                  <a:lstStyle/>
                  <a:p>
                    <a:r>
                      <a:rPr>
                        <a:solidFill>
                          <a:srgbClr val="FFFFFF"/>
                        </a:solidFill>
                      </a:rPr>
                      <a:t>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7.670868</c:v>
                </c:pt>
                <c:pt idx="1">
                  <c:v>7.649519</c:v>
                </c:pt>
                <c:pt idx="2">
                  <c:v>5.81763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025675</c:v>
                </c:pt>
                <c:pt idx="1">
                  <c:v>0.739526</c:v>
                </c:pt>
                <c:pt idx="2">
                  <c:v>0.47170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00376</c:v>
                </c:pt>
                <c:pt idx="1">
                  <c:v>0.104203</c:v>
                </c:pt>
                <c:pt idx="2">
                  <c:v>0.0709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33514</c:v>
                </c:pt>
                <c:pt idx="1">
                  <c:v>0.120266</c:v>
                </c:pt>
                <c:pt idx="2">
                  <c:v>0.07672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488214</c:v>
                </c:pt>
                <c:pt idx="1">
                  <c:v>0.203671</c:v>
                </c:pt>
                <c:pt idx="2">
                  <c:v>0.03044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1.154724</c:v>
                </c:pt>
                <c:pt idx="1">
                  <c:v>1.299299</c:v>
                </c:pt>
                <c:pt idx="2">
                  <c:v>0.862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Gillette Venus</c:v>
                </c:pt>
              </c:strCache>
            </c:strRef>
          </c:tx>
          <c:spPr>
            <a:solidFill>
              <a:srgbClr val="D9D9D9"/>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12.6</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434829</c:v>
                </c:pt>
                <c:pt idx="1">
                  <c:v>12.635633</c:v>
                </c:pt>
                <c:pt idx="2">
                  <c:v>8.99620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bg Pl</c:v>
                </c:pt>
              </c:strCache>
            </c:strRef>
          </c:tx>
          <c:spPr>
            <a:solidFill>
              <a:srgbClr val="BFBFBF"/>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189958</c:v>
                </c:pt>
                <c:pt idx="1">
                  <c:v>5.380947</c:v>
                </c:pt>
                <c:pt idx="2">
                  <c:v>3.9101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ic Soleil</c:v>
                </c:pt>
              </c:strCache>
            </c:strRef>
          </c:tx>
          <c:spPr>
            <a:solidFill>
              <a:srgbClr val="A6A6A6"/>
            </a:solidFill>
            <a:ln>
              <a:solidFill>
                <a:schemeClr val="bg1"/>
              </a:solidFill>
            </a:ln>
            <a:effectLst/>
          </c:spPr>
          <c:invertIfNegative val="0"/>
          <c:dLbls>
            <c:dLbl>
              <c:idx val="0"/>
              <c:tx>
                <c:rich>
                  <a:bodyPr/>
                  <a:lstStyle/>
                  <a:p>
                    <a:r>
                      <a:rPr>
                        <a:solidFill>
                          <a:srgbClr val="FFFFFF"/>
                        </a:solidFill>
                      </a:rPr>
                      <a:t>3.8</a:t>
                    </a:r>
                  </a:p>
                </c:rich>
              </c:tx>
              <c:showLegendKey val="0"/>
              <c:showVal val="1"/>
              <c:showCatName val="0"/>
              <c:showSerName val="0"/>
              <c:showPercent val="0"/>
              <c:showBubbleSize val="0"/>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824379</c:v>
                </c:pt>
                <c:pt idx="1">
                  <c:v>3.792243</c:v>
                </c:pt>
                <c:pt idx="2">
                  <c:v>2.0165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llie</c:v>
                </c:pt>
              </c:strCache>
            </c:strRef>
          </c:tx>
          <c:spPr>
            <a:solidFill>
              <a:srgbClr val="7ECAC4"/>
            </a:solidFill>
            <a:ln>
              <a:solidFill>
                <a:schemeClr val="bg1"/>
              </a:solidFill>
            </a:ln>
            <a:effectLst/>
          </c:spPr>
          <c:invertIfNegative val="0"/>
          <c:dLbls>
            <c:dLbl>
              <c:idx val="0"/>
              <c:tx>
                <c:rich>
                  <a:bodyPr/>
                  <a:lstStyle/>
                  <a:p>
                    <a:r>
                      <a:rPr>
                        <a:solidFill>
                          <a:srgbClr val="FFFFFF"/>
                        </a:solidFill>
                      </a:rPr>
                      <a:t>3.2</a:t>
                    </a:r>
                  </a:p>
                </c:rich>
              </c:tx>
              <c:showLegendKey val="0"/>
              <c:showVal val="1"/>
              <c:showCatName val="0"/>
              <c:showSerName val="0"/>
              <c:showPercent val="0"/>
              <c:showBubbleSize val="0"/>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16675</c:v>
                </c:pt>
                <c:pt idx="1">
                  <c:v>2.59181</c:v>
                </c:pt>
                <c:pt idx="2">
                  <c:v>1.73428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Bic Silky Touch</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307796</c:v>
                </c:pt>
                <c:pt idx="1">
                  <c:v>2.225095</c:v>
                </c:pt>
                <c:pt idx="2">
                  <c:v>1.6473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Joy</c:v>
                </c:pt>
              </c:strCache>
            </c:strRef>
          </c:tx>
          <c:spPr>
            <a:solidFill>
              <a:srgbClr val="7F7F7F"/>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498218</c:v>
                </c:pt>
                <c:pt idx="1">
                  <c:v>2.016425</c:v>
                </c:pt>
                <c:pt idx="2">
                  <c:v>1.2803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677343</c:v>
                </c:pt>
                <c:pt idx="1">
                  <c:v>0.402987</c:v>
                </c:pt>
                <c:pt idx="2">
                  <c:v>0.28381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Hydro Silk</c:v>
                </c:pt>
              </c:strCache>
            </c:strRef>
          </c:tx>
          <c:spPr>
            <a:solidFill>
              <a:srgbClr val="B2DFDC"/>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476597</c:v>
                </c:pt>
                <c:pt idx="1">
                  <c:v>0.423717</c:v>
                </c:pt>
                <c:pt idx="2">
                  <c:v>0.26222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7</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666873</c:v>
                </c:pt>
                <c:pt idx="1">
                  <c:v>0.28167</c:v>
                </c:pt>
                <c:pt idx="2">
                  <c:v>0.03130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977588</c:v>
                </c:pt>
                <c:pt idx="1">
                  <c:v>1.521405</c:v>
                </c:pt>
                <c:pt idx="2">
                  <c:v>1.0672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72867</c:v>
                </c:pt>
                <c:pt idx="1">
                  <c:v>0.71564</c:v>
                </c:pt>
                <c:pt idx="2">
                  <c:v>0.3519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7654</c:v>
                </c:pt>
                <c:pt idx="1">
                  <c:v>0.305364</c:v>
                </c:pt>
                <c:pt idx="2">
                  <c:v>0.16321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15529</c:v>
                </c:pt>
                <c:pt idx="1">
                  <c:v>0.451136</c:v>
                </c:pt>
                <c:pt idx="2">
                  <c:v>0.31327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65909</c:v>
                </c:pt>
                <c:pt idx="1">
                  <c:v>0.180703</c:v>
                </c:pt>
                <c:pt idx="2">
                  <c:v>0.11861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65957</c:v>
                </c:pt>
                <c:pt idx="1">
                  <c:v>0.35578</c:v>
                </c:pt>
                <c:pt idx="2">
                  <c:v>0.22837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0967</c:v>
                </c:pt>
                <c:pt idx="1">
                  <c:v>0.090624</c:v>
                </c:pt>
                <c:pt idx="2">
                  <c:v>0.08085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75824</c:v>
                </c:pt>
                <c:pt idx="1">
                  <c:v>0.072544</c:v>
                </c:pt>
                <c:pt idx="2">
                  <c:v>0.0005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93604</c:v>
                </c:pt>
                <c:pt idx="1">
                  <c:v>0.002112</c:v>
                </c:pt>
                <c:pt idx="2">
                  <c:v>0.0</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413896</c:v>
                </c:pt>
                <c:pt idx="1">
                  <c:v>0.485153</c:v>
                </c:pt>
                <c:pt idx="2">
                  <c:v>0.31371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20306</c:v>
                </c:pt>
                <c:pt idx="1">
                  <c:v>0.255896</c:v>
                </c:pt>
                <c:pt idx="2">
                  <c:v>0.173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51797</c:v>
                </c:pt>
                <c:pt idx="1">
                  <c:v>2.132838</c:v>
                </c:pt>
                <c:pt idx="2">
                  <c:v>1.05910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94629</c:v>
                </c:pt>
                <c:pt idx="1">
                  <c:v>0.550233</c:v>
                </c:pt>
                <c:pt idx="2">
                  <c:v>0.2928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vribeauty</c:v>
                </c:pt>
              </c:strCache>
            </c:strRef>
          </c:tx>
          <c:spPr>
            <a:solidFill>
              <a:srgbClr val="A6A6A6"/>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20172</c:v>
                </c:pt>
                <c:pt idx="1">
                  <c:v>0.464172</c:v>
                </c:pt>
                <c:pt idx="2">
                  <c:v>0.32641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Universal Prods Mktg</c:v>
                </c:pt>
              </c:strCache>
            </c:strRef>
          </c:tx>
          <c:spPr>
            <a:solidFill>
              <a:srgbClr val="9B9898"/>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54102</c:v>
                </c:pt>
                <c:pt idx="1">
                  <c:v>0.266947</c:v>
                </c:pt>
                <c:pt idx="2">
                  <c:v>0.17504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27834</c:v>
                </c:pt>
                <c:pt idx="1">
                  <c:v>0.330987</c:v>
                </c:pt>
                <c:pt idx="2">
                  <c:v>0.219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vlon</c:v>
                </c:pt>
              </c:strCache>
            </c:strRef>
          </c:tx>
          <c:spPr>
            <a:solidFill>
              <a:srgbClr val="7F7F7F"/>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267408</c:v>
                </c:pt>
                <c:pt idx="1">
                  <c:v>0.258709</c:v>
                </c:pt>
                <c:pt idx="2">
                  <c:v>0.2428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245728</c:v>
                </c:pt>
                <c:pt idx="1">
                  <c:v>0.219796</c:v>
                </c:pt>
                <c:pt idx="2">
                  <c:v>0.00056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189886</c:v>
                </c:pt>
                <c:pt idx="1">
                  <c:v>0.000982</c:v>
                </c:pt>
                <c:pt idx="2">
                  <c:v>0.0</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608283</c:v>
                </c:pt>
                <c:pt idx="1">
                  <c:v>0.759648</c:v>
                </c:pt>
                <c:pt idx="2">
                  <c:v>0.44836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Pbg: All 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4164</c:v>
                </c:pt>
                <c:pt idx="1">
                  <c:v>0.200738</c:v>
                </c:pt>
                <c:pt idx="2">
                  <c:v>0.14398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35482</c:v>
                </c:pt>
                <c:pt idx="1">
                  <c:v>0.245948</c:v>
                </c:pt>
                <c:pt idx="2">
                  <c:v>0.17068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3615</c:v>
                </c:pt>
                <c:pt idx="1">
                  <c:v>0.300481</c:v>
                </c:pt>
                <c:pt idx="2">
                  <c:v>0.220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9312</c:v>
                </c:pt>
                <c:pt idx="1">
                  <c:v>0.112459</c:v>
                </c:pt>
                <c:pt idx="2">
                  <c:v>0.08271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52</c:v>
                </c:pt>
                <c:pt idx="1">
                  <c:v>0.057086</c:v>
                </c:pt>
                <c:pt idx="2">
                  <c:v>0.04584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77199</c:v>
                </c:pt>
                <c:pt idx="1">
                  <c:v>0.172684</c:v>
                </c:pt>
                <c:pt idx="2">
                  <c:v>0.1153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78535</c:v>
                </c:pt>
                <c:pt idx="1">
                  <c:v>0.032213</c:v>
                </c:pt>
                <c:pt idx="2">
                  <c:v>0.00085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7369</c:v>
                </c:pt>
                <c:pt idx="1">
                  <c:v>0.019137</c:v>
                </c:pt>
                <c:pt idx="2">
                  <c:v>0.00030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Gillette Venu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e-06</c:v>
                </c:pt>
                <c:pt idx="1">
                  <c:v>0.059007</c:v>
                </c:pt>
                <c:pt idx="2">
                  <c:v>0.00241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1238</c:v>
                </c:pt>
                <c:pt idx="1">
                  <c:v>0.000731</c:v>
                </c:pt>
                <c:pt idx="2">
                  <c:v>0.0</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7015</c:v>
                </c:pt>
                <c:pt idx="1">
                  <c:v>0.006971</c:v>
                </c:pt>
                <c:pt idx="2">
                  <c:v>0.0111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4187</c:v>
                </c:pt>
                <c:pt idx="1">
                  <c:v>0.753139</c:v>
                </c:pt>
                <c:pt idx="2">
                  <c:v>0.4838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vribeauty</c:v>
                </c:pt>
              </c:strCache>
            </c:strRef>
          </c:tx>
          <c:spPr>
            <a:solidFill>
              <a:srgbClr val="BFBFB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7528</c:v>
                </c:pt>
                <c:pt idx="1">
                  <c:v>0.313985</c:v>
                </c:pt>
                <c:pt idx="2">
                  <c:v>0.21268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Universal Razor</c:v>
                </c:pt>
              </c:strCache>
            </c:strRef>
          </c:tx>
          <c:spPr>
            <a:solidFill>
              <a:srgbClr val="A6A6A6"/>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68585</c:v>
                </c:pt>
                <c:pt idx="1">
                  <c:v>0.1918</c:v>
                </c:pt>
                <c:pt idx="2">
                  <c:v>0.14241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vlon</c:v>
                </c:pt>
              </c:strCache>
            </c:strRef>
          </c:tx>
          <c:spPr>
            <a:solidFill>
              <a:srgbClr val="9B9898"/>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25378</c:v>
                </c:pt>
                <c:pt idx="1">
                  <c:v>0.162015</c:v>
                </c:pt>
                <c:pt idx="2">
                  <c:v>0.137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57559</c:v>
                </c:pt>
                <c:pt idx="1">
                  <c:v>0.153881</c:v>
                </c:pt>
                <c:pt idx="2">
                  <c:v>0.10288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6843</c:v>
                </c:pt>
                <c:pt idx="1">
                  <c:v>0.046488</c:v>
                </c:pt>
                <c:pt idx="2">
                  <c:v>0.00116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84503</c:v>
                </c:pt>
                <c:pt idx="1">
                  <c:v>0.049303</c:v>
                </c:pt>
                <c:pt idx="2">
                  <c:v>0.000311</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Gillette Venu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3.7e-05</c:v>
                </c:pt>
                <c:pt idx="1">
                  <c:v>0.106084</c:v>
                </c:pt>
                <c:pt idx="2">
                  <c:v>0.001956</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3974</c:v>
                </c:pt>
                <c:pt idx="1">
                  <c:v>0.000374</c:v>
                </c:pt>
                <c:pt idx="2">
                  <c:v>0.0</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8029</c:v>
                </c:pt>
                <c:pt idx="1">
                  <c:v>0.011558</c:v>
                </c:pt>
                <c:pt idx="2">
                  <c:v>0.01947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6</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452187</c:v>
                </c:pt>
                <c:pt idx="1">
                  <c:v>4.556282</c:v>
                </c:pt>
                <c:pt idx="2">
                  <c:v>2.4033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10333</c:v>
                </c:pt>
                <c:pt idx="1">
                  <c:v>2.116566</c:v>
                </c:pt>
                <c:pt idx="2">
                  <c:v>1.3490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11894</c:v>
                </c:pt>
                <c:pt idx="1">
                  <c:v>0.750374</c:v>
                </c:pt>
                <c:pt idx="2">
                  <c:v>0.5900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9789</c:v>
                </c:pt>
                <c:pt idx="1">
                  <c:v>1.94408</c:v>
                </c:pt>
                <c:pt idx="2">
                  <c:v>1.38491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226113</c:v>
                </c:pt>
                <c:pt idx="1">
                  <c:v>2.148787</c:v>
                </c:pt>
                <c:pt idx="2">
                  <c:v>1.49494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1718</c:v>
                </c:pt>
                <c:pt idx="1">
                  <c:v>1.156587</c:v>
                </c:pt>
                <c:pt idx="2">
                  <c:v>0.1362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530347</c:v>
                </c:pt>
                <c:pt idx="1">
                  <c:v>0.83324</c:v>
                </c:pt>
                <c:pt idx="2">
                  <c:v>0.52822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465914</c:v>
                </c:pt>
                <c:pt idx="1">
                  <c:v>0.48655</c:v>
                </c:pt>
                <c:pt idx="2">
                  <c:v>0.00457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152841</c:v>
                </c:pt>
                <c:pt idx="1">
                  <c:v>0.011315</c:v>
                </c:pt>
                <c:pt idx="2">
                  <c:v>1e-05</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2.049651</c:v>
                </c:pt>
                <c:pt idx="1">
                  <c:v>1.80394</c:v>
                </c:pt>
                <c:pt idx="2">
                  <c:v>1.56386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2</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9.326887</c:v>
                </c:pt>
                <c:pt idx="1">
                  <c:v>19.21498</c:v>
                </c:pt>
                <c:pt idx="2">
                  <c:v>13.5341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186962</c:v>
                </c:pt>
                <c:pt idx="1">
                  <c:v>16.885797</c:v>
                </c:pt>
                <c:pt idx="2">
                  <c:v>10.67309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620758</c:v>
                </c:pt>
                <c:pt idx="1">
                  <c:v>3.555772</c:v>
                </c:pt>
                <c:pt idx="2">
                  <c:v>2.57789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032396</c:v>
                </c:pt>
                <c:pt idx="1">
                  <c:v>2.678327</c:v>
                </c:pt>
                <c:pt idx="2">
                  <c:v>0.45596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6301</c:v>
                </c:pt>
                <c:pt idx="1">
                  <c:v>0.83214</c:v>
                </c:pt>
                <c:pt idx="2">
                  <c:v>1.1623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Hydro Silk</c:v>
                </c:pt>
              </c:strCache>
            </c:strRef>
          </c:tx>
          <c:spPr>
            <a:solidFill>
              <a:srgbClr val="00504B"/>
            </a:solidFill>
            <a:ln>
              <a:solidFill>
                <a:schemeClr val="bg1"/>
              </a:solidFill>
            </a:ln>
            <a:effectLst/>
          </c:spPr>
          <c:invertIfNegative val="0"/>
          <c:dLbls>
            <c:dLbl>
              <c:idx val="0"/>
              <c:tx>
                <c:rich>
                  <a:bodyPr/>
                  <a:lstStyle/>
                  <a:p>
                    <a:r>
                      <a:rPr>
                        <a:solidFill>
                          <a:srgbClr val="FFFFFF"/>
                        </a:solidFill>
                      </a:rPr>
                      <a:t>8.9</a:t>
                    </a:r>
                  </a:p>
                </c:rich>
              </c:tx>
              <c:showLegendKey val="0"/>
              <c:showVal val="1"/>
              <c:showCatName val="0"/>
              <c:showSerName val="0"/>
              <c:showPercent val="0"/>
              <c:showBubbleSize val="0"/>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8.896818</c:v>
                </c:pt>
                <c:pt idx="1">
                  <c:v>13.035802</c:v>
                </c:pt>
                <c:pt idx="2">
                  <c:v>6.9056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Universal Razor</c:v>
                </c:pt>
              </c:strCache>
            </c:strRef>
          </c:tx>
          <c:spPr>
            <a:solidFill>
              <a:srgbClr val="BFBFBF"/>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410137</c:v>
                </c:pt>
                <c:pt idx="1">
                  <c:v>3.857215</c:v>
                </c:pt>
                <c:pt idx="2">
                  <c:v>2.4183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vlon</c:v>
                </c:pt>
              </c:strCache>
            </c:strRef>
          </c:tx>
          <c:spPr>
            <a:solidFill>
              <a:srgbClr val="A6A6A6"/>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3009</c:v>
                </c:pt>
                <c:pt idx="1">
                  <c:v>2.13218</c:v>
                </c:pt>
                <c:pt idx="2">
                  <c:v>1.7647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vribeauty</c:v>
                </c:pt>
              </c:strCache>
            </c:strRef>
          </c:tx>
          <c:spPr>
            <a:solidFill>
              <a:srgbClr val="9B9898"/>
            </a:solidFill>
            <a:ln>
              <a:solidFill>
                <a:schemeClr val="bg1"/>
              </a:solidFill>
            </a:ln>
            <a:effectLst/>
          </c:spPr>
          <c:invertIfNegative val="0"/>
          <c:dLbls>
            <c:dLbl>
              <c:idx val="0"/>
              <c:tx>
                <c:rich>
                  <a:bodyPr/>
                  <a:lstStyle/>
                  <a:p>
                    <a:r>
                      <a:rPr>
                        <a:solidFill>
                          <a:srgbClr val="FFFFFF"/>
                        </a:solidFill>
                      </a:rPr>
                      <a:t>2.4</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408156</c:v>
                </c:pt>
                <c:pt idx="1">
                  <c:v>2.012046</c:v>
                </c:pt>
                <c:pt idx="2">
                  <c:v>1.43000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Rem Pl</c:v>
                </c:pt>
              </c:strCache>
            </c:strRef>
          </c:tx>
          <c:spPr>
            <a:solidFill>
              <a:srgbClr val="7F7F7F"/>
            </a:solidFill>
            <a:ln>
              <a:solidFill>
                <a:schemeClr val="bg1"/>
              </a:solidFill>
            </a:ln>
            <a:effectLst/>
          </c:spPr>
          <c:invertIfNegative val="0"/>
          <c:dLbls>
            <c:dLbl>
              <c:idx val="0"/>
              <c:tx>
                <c:rich>
                  <a:bodyPr/>
                  <a:lstStyle/>
                  <a:p>
                    <a:r>
                      <a:rPr>
                        <a:solidFill>
                          <a:srgbClr val="FFFFFF"/>
                        </a:solidFill>
                      </a:rPr>
                      <a:t>2.0</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980912</c:v>
                </c:pt>
                <c:pt idx="1">
                  <c:v>2.001538</c:v>
                </c:pt>
                <c:pt idx="2">
                  <c:v>1.44790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Gillette Venus</c:v>
                </c:pt>
              </c:strCache>
            </c:strRef>
          </c:tx>
          <c:spPr>
            <a:solidFill>
              <a:srgbClr val="7F7F7F"/>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64776</c:v>
                </c:pt>
                <c:pt idx="1">
                  <c:v>3.93803</c:v>
                </c:pt>
                <c:pt idx="2">
                  <c:v>0.5970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a:solidFill>
                          <a:srgbClr val="FFFFFF"/>
                        </a:solidFill>
                      </a:rPr>
                      <a:t>2.3</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255483</c:v>
                </c:pt>
                <c:pt idx="1">
                  <c:v>1.221028</c:v>
                </c:pt>
                <c:pt idx="2">
                  <c:v>0.77551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tuition</c:v>
                </c:pt>
              </c:strCache>
            </c:strRef>
          </c:tx>
          <c:spPr>
            <a:solidFill>
              <a:srgbClr val="B2DFDC"/>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1.511651</c:v>
                </c:pt>
                <c:pt idx="1">
                  <c:v>1.447875</c:v>
                </c:pt>
                <c:pt idx="2">
                  <c:v>0.00453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Skintimate</c:v>
                </c:pt>
              </c:strCache>
            </c:strRef>
          </c:tx>
          <c:spPr>
            <a:solidFill>
              <a:srgbClr val="B2DFDC"/>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1.135507</c:v>
                </c:pt>
                <c:pt idx="1">
                  <c:v>0.005057</c:v>
                </c:pt>
                <c:pt idx="2">
                  <c:v>5e-06</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3.661777</c:v>
                </c:pt>
                <c:pt idx="1">
                  <c:v>3.342674</c:v>
                </c:pt>
                <c:pt idx="2">
                  <c:v>2.9195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53408</c:v>
                </c:pt>
                <c:pt idx="1">
                  <c:v>0.408254</c:v>
                </c:pt>
                <c:pt idx="2">
                  <c:v>0.1982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Intuition</c:v>
                </c:pt>
              </c:strCache>
            </c:strRef>
          </c:tx>
          <c:spPr>
            <a:solidFill>
              <a:srgbClr val="00504B"/>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43142</c:v>
                </c:pt>
                <c:pt idx="1">
                  <c:v>1.134077</c:v>
                </c:pt>
                <c:pt idx="2">
                  <c:v>0.59315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76.6</a:t>
                    </a:r>
                  </a:p>
                </c:rich>
              </c:tx>
              <c:showLegendKey val="0"/>
              <c:showVal val="1"/>
              <c:showCatName val="0"/>
              <c:showSerName val="0"/>
              <c:showPercent val="0"/>
              <c:showBubbleSize val="0"/>
            </c:dLbl>
            <c:dLbl>
              <c:idx val="1"/>
              <c:tx>
                <c:rich>
                  <a:bodyPr/>
                  <a:lstStyle/>
                  <a:p>
                    <a:r>
                      <a:rPr>
                        <a:solidFill>
                          <a:srgbClr val="FFFFFF"/>
                        </a:solidFill>
                      </a:rPr>
                      <a:t>76.9</a:t>
                    </a:r>
                  </a:p>
                </c:rich>
              </c:tx>
              <c:showLegendKey val="0"/>
              <c:showVal val="1"/>
              <c:showCatName val="0"/>
              <c:showSerName val="0"/>
              <c:showPercent val="0"/>
              <c:showBubbleSize val="0"/>
            </c:dLbl>
            <c:dLbl>
              <c:idx val="2"/>
              <c:tx>
                <c:rich>
                  <a:bodyPr/>
                  <a:lstStyle/>
                  <a:p>
                    <a:r>
                      <a:rPr>
                        <a:solidFill>
                          <a:srgbClr val="FFFFFF"/>
                        </a:solidFill>
                      </a:rPr>
                      <a:t>5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6.604422</c:v>
                </c:pt>
                <c:pt idx="1">
                  <c:v>76.912704</c:v>
                </c:pt>
                <c:pt idx="2">
                  <c:v>54.96932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68.6</a:t>
                    </a:r>
                  </a:p>
                </c:rich>
              </c:tx>
              <c:showLegendKey val="0"/>
              <c:showVal val="1"/>
              <c:showCatName val="0"/>
              <c:showSerName val="0"/>
              <c:showPercent val="0"/>
              <c:showBubbleSize val="0"/>
            </c:dLbl>
            <c:dLbl>
              <c:idx val="1"/>
              <c:tx>
                <c:rich>
                  <a:bodyPr/>
                  <a:lstStyle/>
                  <a:p>
                    <a:r>
                      <a:rPr>
                        <a:solidFill>
                          <a:srgbClr val="FFFFFF"/>
                        </a:solidFill>
                      </a:rPr>
                      <a:t>63.8</a:t>
                    </a:r>
                  </a:p>
                </c:rich>
              </c:tx>
              <c:showLegendKey val="0"/>
              <c:showVal val="1"/>
              <c:showCatName val="0"/>
              <c:showSerName val="0"/>
              <c:showPercent val="0"/>
              <c:showBubbleSize val="0"/>
            </c:dLbl>
            <c:dLbl>
              <c:idx val="2"/>
              <c:tx>
                <c:rich>
                  <a:bodyPr/>
                  <a:lstStyle/>
                  <a:p>
                    <a:r>
                      <a:rPr>
                        <a:solidFill>
                          <a:srgbClr val="FFFFFF"/>
                        </a:solidFill>
                      </a:rPr>
                      <a:t>3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8.620141</c:v>
                </c:pt>
                <c:pt idx="1">
                  <c:v>63.772498</c:v>
                </c:pt>
                <c:pt idx="2">
                  <c:v>39.219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6.7</a:t>
                    </a:r>
                  </a:p>
                </c:rich>
              </c:tx>
              <c:showLegendKey val="0"/>
              <c:showVal val="1"/>
              <c:showCatName val="0"/>
              <c:showSerName val="0"/>
              <c:showPercent val="0"/>
              <c:showBubbleSize val="0"/>
            </c:dLbl>
            <c:dLbl>
              <c:idx val="1"/>
              <c:tx>
                <c:rich>
                  <a:bodyPr/>
                  <a:lstStyle/>
                  <a:p>
                    <a:r>
                      <a:rPr>
                        <a:solidFill>
                          <a:srgbClr val="FFFFFF"/>
                        </a:solidFill>
                      </a:rPr>
                      <a:t>6.6</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739077</c:v>
                </c:pt>
                <c:pt idx="1">
                  <c:v>6.627281</c:v>
                </c:pt>
                <c:pt idx="2">
                  <c:v>4.70983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tx>
                <c:rich>
                  <a:bodyPr/>
                  <a:lstStyle/>
                  <a:p>
                    <a:r>
                      <a:rPr>
                        <a:solidFill>
                          <a:srgbClr val="FFFFFF"/>
                        </a:solidFill>
                      </a:rPr>
                      <a:t>2.7</a:t>
                    </a:r>
                  </a:p>
                </c:rich>
              </c:tx>
              <c:showLegendKey val="0"/>
              <c:showVal val="1"/>
              <c:showCatName val="0"/>
              <c:showSerName val="0"/>
              <c:showPercent val="0"/>
              <c:showBubbleSize val="0"/>
            </c:dLbl>
            <c:dLbl>
              <c:idx val="1"/>
              <c:tx>
                <c:rich>
                  <a:bodyPr/>
                  <a:lstStyle/>
                  <a:p>
                    <a:r>
                      <a:rPr>
                        <a:solidFill>
                          <a:srgbClr val="FFFFFF"/>
                        </a:solidFill>
                      </a:rPr>
                      <a:t>3.9</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36185</c:v>
                </c:pt>
                <c:pt idx="1">
                  <c:v>3.854343</c:v>
                </c:pt>
                <c:pt idx="2">
                  <c:v>0.7015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27604</c:v>
                </c:pt>
                <c:pt idx="1">
                  <c:v>2.696979</c:v>
                </c:pt>
                <c:pt idx="2">
                  <c:v>3.55888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e-06</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1</a:t>
                    </a:r>
                  </a:p>
                </c:rich>
              </c:tx>
              <c:showLegendKey val="0"/>
              <c:showVal val="1"/>
              <c:showCatName val="0"/>
              <c:showSerName val="0"/>
              <c:showPercent val="0"/>
              <c:showBubbleSize val="0"/>
            </c:dLbl>
            <c:dLbl>
              <c:idx val="2"/>
              <c:tx>
                <c:rich>
                  <a:bodyPr/>
                  <a:lstStyle/>
                  <a:p>
                    <a:r>
                      <a:rPr>
                        <a:solidFill>
                          <a:srgbClr val="FFFFFF"/>
                        </a:solidFill>
                      </a:rPr>
                      <a:t>2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3.973617</c:v>
                </c:pt>
                <c:pt idx="1">
                  <c:v>29.078718</c:v>
                </c:pt>
                <c:pt idx="2">
                  <c:v>24.07269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5</a:t>
                    </a:r>
                  </a:p>
                </c:rich>
              </c:tx>
              <c:showLegendKey val="0"/>
              <c:showVal val="1"/>
              <c:showCatName val="0"/>
              <c:showSerName val="0"/>
              <c:showPercent val="0"/>
              <c:showBubbleSize val="0"/>
            </c:dLbl>
            <c:dLbl>
              <c:idx val="2"/>
              <c:tx>
                <c:rich>
                  <a:bodyPr/>
                  <a:lstStyle/>
                  <a:p>
                    <a:r>
                      <a:rPr>
                        <a:solidFill>
                          <a:srgbClr val="FFFFFF"/>
                        </a:solidFill>
                      </a:rPr>
                      <a:t>1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7.624889</c:v>
                </c:pt>
                <c:pt idx="1">
                  <c:v>17.535433</c:v>
                </c:pt>
                <c:pt idx="2">
                  <c:v>13.68442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tx>
                <c:rich>
                  <a:bodyPr/>
                  <a:lstStyle/>
                  <a:p>
                    <a:r>
                      <a:rPr>
                        <a:solidFill>
                          <a:srgbClr val="FFFFFF"/>
                        </a:solidFill>
                      </a:rPr>
                      <a:t>76.6</a:t>
                    </a:r>
                  </a:p>
                </c:rich>
              </c:tx>
              <c:showLegendKey val="0"/>
              <c:showVal val="1"/>
              <c:showCatName val="0"/>
              <c:showSerName val="0"/>
              <c:showPercent val="0"/>
              <c:showBubbleSize val="0"/>
            </c:dLbl>
            <c:dLbl>
              <c:idx val="1"/>
              <c:tx>
                <c:rich>
                  <a:bodyPr/>
                  <a:lstStyle/>
                  <a:p>
                    <a:r>
                      <a:rPr>
                        <a:solidFill>
                          <a:srgbClr val="FFFFFF"/>
                        </a:solidFill>
                      </a:rPr>
                      <a:t>88.0</a:t>
                    </a:r>
                  </a:p>
                </c:rich>
              </c:tx>
              <c:showLegendKey val="0"/>
              <c:showVal val="1"/>
              <c:showCatName val="0"/>
              <c:showSerName val="0"/>
              <c:showPercent val="0"/>
              <c:showBubbleSize val="0"/>
            </c:dLbl>
            <c:dLbl>
              <c:idx val="2"/>
              <c:tx>
                <c:rich>
                  <a:bodyPr/>
                  <a:lstStyle/>
                  <a:p>
                    <a:r>
                      <a:rPr>
                        <a:solidFill>
                          <a:srgbClr val="FFFFFF"/>
                        </a:solidFill>
                      </a:rPr>
                      <a:t>6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6.558642</c:v>
                </c:pt>
                <c:pt idx="1">
                  <c:v>88.019835</c:v>
                </c:pt>
                <c:pt idx="2">
                  <c:v>69.18769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tx>
                <c:rich>
                  <a:bodyPr/>
                  <a:lstStyle/>
                  <a:p>
                    <a:r>
                      <a:rPr>
                        <a:solidFill>
                          <a:srgbClr val="FFFFFF"/>
                        </a:solidFill>
                      </a:rPr>
                      <a:t>18.3</a:t>
                    </a:r>
                  </a:p>
                </c:rich>
              </c:tx>
              <c:showLegendKey val="0"/>
              <c:showVal val="1"/>
              <c:showCatName val="0"/>
              <c:showSerName val="0"/>
              <c:showPercent val="0"/>
              <c:showBubbleSize val="0"/>
            </c:dLbl>
            <c:dLbl>
              <c:idx val="1"/>
              <c:tx>
                <c:rich>
                  <a:bodyPr/>
                  <a:lstStyle/>
                  <a:p>
                    <a:r>
                      <a:rPr>
                        <a:solidFill>
                          <a:srgbClr val="FFFFFF"/>
                        </a:solidFill>
                      </a:rPr>
                      <a:t>19.7</a:t>
                    </a:r>
                  </a:p>
                </c:rich>
              </c:tx>
              <c:showLegendKey val="0"/>
              <c:showVal val="1"/>
              <c:showCatName val="0"/>
              <c:showSerName val="0"/>
              <c:showPercent val="0"/>
              <c:showBubbleSize val="0"/>
            </c:dLbl>
            <c:dLbl>
              <c:idx val="2"/>
              <c:tx>
                <c:rich>
                  <a:bodyPr/>
                  <a:lstStyle/>
                  <a:p>
                    <a:r>
                      <a:rPr>
                        <a:solidFill>
                          <a:srgbClr val="FFFFFF"/>
                        </a:solidFill>
                      </a:rPr>
                      <a:t>1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335473</c:v>
                </c:pt>
                <c:pt idx="1">
                  <c:v>19.721425</c:v>
                </c:pt>
                <c:pt idx="2">
                  <c:v>16.223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556047</c:v>
                </c:pt>
                <c:pt idx="1">
                  <c:v>10.287212</c:v>
                </c:pt>
                <c:pt idx="2">
                  <c:v>7.02321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395502</c:v>
                </c:pt>
                <c:pt idx="1">
                  <c:v>9.931166</c:v>
                </c:pt>
                <c:pt idx="2">
                  <c:v>7.21575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384464</c:v>
                </c:pt>
                <c:pt idx="1">
                  <c:v>2.195131</c:v>
                </c:pt>
                <c:pt idx="2">
                  <c:v>1.4883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tx>
                <c:rich>
                  <a:bodyPr/>
                  <a:lstStyle/>
                  <a:p>
                    <a:r>
                      <a:rPr>
                        <a:solidFill>
                          <a:srgbClr val="FFFFFF"/>
                        </a:solidFill>
                      </a:rPr>
                      <a:t>55.4</a:t>
                    </a:r>
                  </a:p>
                </c:rich>
              </c:tx>
              <c:showLegendKey val="0"/>
              <c:showVal val="1"/>
              <c:showCatName val="0"/>
              <c:showSerName val="0"/>
              <c:showPercent val="0"/>
              <c:showBubbleSize val="0"/>
            </c:dLbl>
            <c:dLbl>
              <c:idx val="1"/>
              <c:tx>
                <c:rich>
                  <a:bodyPr/>
                  <a:lstStyle/>
                  <a:p>
                    <a:r>
                      <a:rPr>
                        <a:solidFill>
                          <a:srgbClr val="FFFFFF"/>
                        </a:solidFill>
                      </a:rPr>
                      <a:t>55.5</a:t>
                    </a:r>
                  </a:p>
                </c:rich>
              </c:tx>
              <c:showLegendKey val="0"/>
              <c:showVal val="1"/>
              <c:showCatName val="0"/>
              <c:showSerName val="0"/>
              <c:showPercent val="0"/>
              <c:showBubbleSize val="0"/>
            </c:dLbl>
            <c:dLbl>
              <c:idx val="2"/>
              <c:tx>
                <c:rich>
                  <a:bodyPr/>
                  <a:lstStyle/>
                  <a:p>
                    <a:r>
                      <a:rPr>
                        <a:solidFill>
                          <a:srgbClr val="FFFFFF"/>
                        </a:solidFill>
                      </a:rPr>
                      <a:t>3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5.392627</c:v>
                </c:pt>
                <c:pt idx="1">
                  <c:v>55.463483</c:v>
                </c:pt>
                <c:pt idx="2">
                  <c:v>35.49373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tx>
                <c:rich>
                  <a:bodyPr/>
                  <a:lstStyle/>
                  <a:p>
                    <a:r>
                      <a:rPr>
                        <a:solidFill>
                          <a:srgbClr val="FFFFFF"/>
                        </a:solidFill>
                      </a:rPr>
                      <a:t>24.0</a:t>
                    </a:r>
                  </a:p>
                </c:rich>
              </c:tx>
              <c:showLegendKey val="0"/>
              <c:showVal val="1"/>
              <c:showCatName val="0"/>
              <c:showSerName val="0"/>
              <c:showPercent val="0"/>
              <c:showBubbleSize val="0"/>
            </c:dLbl>
            <c:dLbl>
              <c:idx val="1"/>
              <c:tx>
                <c:rich>
                  <a:bodyPr/>
                  <a:lstStyle/>
                  <a:p>
                    <a:r>
                      <a:rPr>
                        <a:solidFill>
                          <a:srgbClr val="FFFFFF"/>
                        </a:solidFill>
                      </a:rPr>
                      <a:t>23.5</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4.041487</c:v>
                </c:pt>
                <c:pt idx="1">
                  <c:v>23.548879</c:v>
                </c:pt>
                <c:pt idx="2">
                  <c:v>17.39717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926348</c:v>
                </c:pt>
                <c:pt idx="1">
                  <c:v>5.36483</c:v>
                </c:pt>
                <c:pt idx="2">
                  <c:v>3.8296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4</a:t>
                    </a:r>
                  </a:p>
                </c:rich>
              </c:tx>
              <c:showLegendKey val="0"/>
              <c:showVal val="1"/>
              <c:showCatName val="0"/>
              <c:showSerName val="0"/>
              <c:showPercent val="0"/>
              <c:showBubbleSize val="0"/>
            </c:dLbl>
            <c:dLbl>
              <c:idx val="2"/>
              <c:tx>
                <c:rich>
                  <a:bodyPr/>
                  <a:lstStyle/>
                  <a:p>
                    <a:r>
                      <a:rPr>
                        <a:solidFill>
                          <a:srgbClr val="FFFFFF"/>
                        </a:solidFill>
                      </a:rPr>
                      <a:t>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727741</c:v>
                </c:pt>
                <c:pt idx="1">
                  <c:v>9.362427</c:v>
                </c:pt>
                <c:pt idx="2">
                  <c:v>6.34505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ystem</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77691</c:v>
                </c:pt>
                <c:pt idx="1">
                  <c:v>1.924828</c:v>
                </c:pt>
                <c:pt idx="2">
                  <c:v>1.3072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74981</c:v>
                </c:pt>
                <c:pt idx="1">
                  <c:v>0.888779</c:v>
                </c:pt>
                <c:pt idx="2">
                  <c:v>0.6350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tx>
                <c:rich>
                  <a:bodyPr/>
                  <a:lstStyle/>
                  <a:p>
                    <a:r>
                      <a:rPr>
                        <a:solidFill>
                          <a:srgbClr val="FFFFFF"/>
                        </a:solidFill>
                      </a:rPr>
                      <a:t>9.1</a:t>
                    </a:r>
                  </a:p>
                </c:rich>
              </c:tx>
              <c:showLegendKey val="0"/>
              <c:showVal val="1"/>
              <c:showCatName val="0"/>
              <c:showSerName val="0"/>
              <c:showPercent val="0"/>
              <c:showBubbleSize val="0"/>
            </c:dLbl>
            <c:dLbl>
              <c:idx val="1"/>
              <c:tx>
                <c:rich>
                  <a:bodyPr/>
                  <a:lstStyle/>
                  <a:p>
                    <a:r>
                      <a:rPr>
                        <a:solidFill>
                          <a:srgbClr val="FFFFFF"/>
                        </a:solidFill>
                      </a:rPr>
                      <a:t>9.0</a:t>
                    </a:r>
                  </a:p>
                </c:rich>
              </c:tx>
              <c:showLegendKey val="0"/>
              <c:showVal val="1"/>
              <c:showCatName val="0"/>
              <c:showSerName val="0"/>
              <c:showPercent val="0"/>
              <c:showBubbleSize val="0"/>
            </c:dLbl>
            <c:dLbl>
              <c:idx val="2"/>
              <c:tx>
                <c:rich>
                  <a:bodyPr/>
                  <a:lstStyle/>
                  <a:p>
                    <a:r>
                      <a:rPr>
                        <a:solidFill>
                          <a:srgbClr val="FFFFFF"/>
                        </a:solidFill>
                      </a:rPr>
                      <a:t>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080917</c:v>
                </c:pt>
                <c:pt idx="1">
                  <c:v>9.037945</c:v>
                </c:pt>
                <c:pt idx="2">
                  <c:v>6.1201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ystem</c:v>
                </c:pt>
              </c:strCache>
            </c:strRef>
          </c:tx>
          <c:spPr>
            <a:solidFill>
              <a:srgbClr val="006C6D"/>
            </a:solidFill>
            <a:ln>
              <a:solidFill>
                <a:schemeClr val="bg1"/>
              </a:solidFill>
            </a:ln>
            <a:effectLst/>
          </c:spPr>
          <c:invertIfNegative val="0"/>
          <c:dLbls>
            <c:dLbl>
              <c:idx val="0"/>
              <c:tx>
                <c:rich>
                  <a:bodyPr/>
                  <a:lstStyle/>
                  <a:p>
                    <a:r>
                      <a:rPr>
                        <a:solidFill>
                          <a:srgbClr val="FFFFFF"/>
                        </a:solidFill>
                      </a:rPr>
                      <a:t>7.0</a:t>
                    </a:r>
                  </a:p>
                </c:rich>
              </c:tx>
              <c:showLegendKey val="0"/>
              <c:showVal val="1"/>
              <c:showCatName val="0"/>
              <c:showSerName val="0"/>
              <c:showPercent val="0"/>
              <c:showBubbleSize val="0"/>
            </c:dLbl>
            <c:dLbl>
              <c:idx val="1"/>
              <c:tx>
                <c:rich>
                  <a:bodyPr/>
                  <a:lstStyle/>
                  <a:p>
                    <a:r>
                      <a:rPr>
                        <a:solidFill>
                          <a:srgbClr val="FFFFFF"/>
                        </a:solidFill>
                      </a:rPr>
                      <a:t>6.9</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966662</c:v>
                </c:pt>
                <c:pt idx="1">
                  <c:v>6.948102</c:v>
                </c:pt>
                <c:pt idx="2">
                  <c:v>4.73019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5371</c:v>
                </c:pt>
                <c:pt idx="1">
                  <c:v>1.275687</c:v>
                </c:pt>
                <c:pt idx="2">
                  <c:v>0.9141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3.2</a:t>
                    </a:r>
                  </a:p>
                </c:rich>
              </c:tx>
              <c:showLegendKey val="0"/>
              <c:showVal val="1"/>
              <c:showCatName val="0"/>
              <c:showSerName val="0"/>
              <c:showPercent val="0"/>
              <c:showBubbleSize val="0"/>
            </c:dLbl>
            <c:dLbl>
              <c:idx val="2"/>
              <c:tx>
                <c:rich>
                  <a:bodyPr/>
                  <a:lstStyle/>
                  <a:p>
                    <a:r>
                      <a:rPr>
                        <a:solidFill>
                          <a:srgbClr val="FFFFFF"/>
                        </a:solidFill>
                      </a:rPr>
                      <a:t>2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3.203305</c:v>
                </c:pt>
                <c:pt idx="1">
                  <c:v>43.167016</c:v>
                </c:pt>
                <c:pt idx="2">
                  <c:v>28.4033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7.8</a:t>
                    </a:r>
                  </a:p>
                </c:rich>
              </c:tx>
              <c:showLegendKey val="0"/>
              <c:showVal val="1"/>
              <c:showCatName val="0"/>
              <c:showSerName val="0"/>
              <c:showPercent val="0"/>
              <c:showBubbleSize val="0"/>
            </c:dLbl>
            <c:dLbl>
              <c:idx val="2"/>
              <c:tx>
                <c:rich>
                  <a:bodyPr/>
                  <a:lstStyle/>
                  <a:p>
                    <a:r>
                      <a:rPr>
                        <a:solidFill>
                          <a:srgbClr val="FFFFFF"/>
                        </a:solidFill>
                      </a:rPr>
                      <a:t>8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6.891526</c:v>
                </c:pt>
                <c:pt idx="1">
                  <c:v>127.829681</c:v>
                </c:pt>
                <c:pt idx="2">
                  <c:v>87.8542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3.278635</c:v>
                </c:pt>
                <c:pt idx="1">
                  <c:v>13.596845</c:v>
                </c:pt>
                <c:pt idx="2">
                  <c:v>9.27792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ystem</c:v>
                </c:pt>
              </c:strCache>
            </c:strRef>
          </c:tx>
          <c:spPr>
            <a:solidFill>
              <a:srgbClr val="00504B"/>
            </a:solidFill>
            <a:ln>
              <a:solidFill>
                <a:schemeClr val="bg1"/>
              </a:solidFill>
            </a:ln>
            <a:effectLst/>
          </c:spPr>
          <c:invertIfNegative val="0"/>
          <c:dLbls>
            <c:dLbl>
              <c:idx val="0"/>
              <c:tx>
                <c:rich>
                  <a:bodyPr/>
                  <a:lstStyle/>
                  <a:p>
                    <a:r>
                      <a:rPr>
                        <a:solidFill>
                          <a:srgbClr val="FFFFFF"/>
                        </a:solidFill>
                      </a:rPr>
                      <a:t>154.8</a:t>
                    </a:r>
                  </a:p>
                </c:rich>
              </c:tx>
              <c:showLegendKey val="0"/>
              <c:showVal val="1"/>
              <c:showCatName val="0"/>
              <c:showSerName val="0"/>
              <c:showPercent val="0"/>
              <c:showBubbleSize val="0"/>
            </c:dLbl>
            <c:dLbl>
              <c:idx val="1"/>
              <c:tx>
                <c:rich>
                  <a:bodyPr/>
                  <a:lstStyle/>
                  <a:p>
                    <a:r>
                      <a:rPr>
                        <a:solidFill>
                          <a:srgbClr val="FFFFFF"/>
                        </a:solidFill>
                      </a:rPr>
                      <a:t>153.9</a:t>
                    </a:r>
                  </a:p>
                </c:rich>
              </c:tx>
              <c:showLegendKey val="0"/>
              <c:showVal val="1"/>
              <c:showCatName val="0"/>
              <c:showSerName val="0"/>
              <c:showPercent val="0"/>
              <c:showBubbleSize val="0"/>
            </c:dLbl>
            <c:dLbl>
              <c:idx val="2"/>
              <c:tx>
                <c:rich>
                  <a:bodyPr/>
                  <a:lstStyle/>
                  <a:p>
                    <a:r>
                      <a:rPr>
                        <a:solidFill>
                          <a:srgbClr val="FFFFFF"/>
                        </a:solidFill>
                      </a:rPr>
                      <a:t>10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54.82743</c:v>
                </c:pt>
                <c:pt idx="1">
                  <c:v>153.863805</c:v>
                </c:pt>
                <c:pt idx="2">
                  <c:v>103.1593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Disposable</c:v>
                </c:pt>
              </c:strCache>
            </c:strRef>
          </c:tx>
          <c:spPr>
            <a:solidFill>
              <a:srgbClr val="006C6D"/>
            </a:solidFill>
            <a:ln>
              <a:solidFill>
                <a:schemeClr val="bg1"/>
              </a:solidFill>
            </a:ln>
            <a:effectLst/>
          </c:spPr>
          <c:invertIfNegative val="0"/>
          <c:dLbls>
            <c:dLbl>
              <c:idx val="0"/>
              <c:tx>
                <c:rich>
                  <a:bodyPr/>
                  <a:lstStyle/>
                  <a:p>
                    <a:r>
                      <a:rPr>
                        <a:solidFill>
                          <a:srgbClr val="FFFFFF"/>
                        </a:solidFill>
                      </a:rPr>
                      <a:t>138.7</a:t>
                    </a:r>
                  </a:p>
                </c:rich>
              </c:tx>
              <c:showLegendKey val="0"/>
              <c:showVal val="1"/>
              <c:showCatName val="0"/>
              <c:showSerName val="0"/>
              <c:showPercent val="0"/>
              <c:showBubbleSize val="0"/>
            </c:dLbl>
            <c:dLbl>
              <c:idx val="1"/>
              <c:tx>
                <c:rich>
                  <a:bodyPr/>
                  <a:lstStyle/>
                  <a:p>
                    <a:r>
                      <a:rPr>
                        <a:solidFill>
                          <a:srgbClr val="FFFFFF"/>
                        </a:solidFill>
                      </a:rPr>
                      <a:t>136.5</a:t>
                    </a:r>
                  </a:p>
                </c:rich>
              </c:tx>
              <c:showLegendKey val="0"/>
              <c:showVal val="1"/>
              <c:showCatName val="0"/>
              <c:showSerName val="0"/>
              <c:showPercent val="0"/>
              <c:showBubbleSize val="0"/>
            </c:dLbl>
            <c:dLbl>
              <c:idx val="2"/>
              <c:tx>
                <c:rich>
                  <a:bodyPr/>
                  <a:lstStyle/>
                  <a:p>
                    <a:r>
                      <a:rPr>
                        <a:solidFill>
                          <a:srgbClr val="FFFFFF"/>
                        </a:solidFill>
                      </a:rPr>
                      <a:t>9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8.677796</c:v>
                </c:pt>
                <c:pt idx="1">
                  <c:v>136.476903</c:v>
                </c:pt>
                <c:pt idx="2">
                  <c:v>92.0480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ermaplane</c:v>
                </c:pt>
              </c:strCache>
            </c:strRef>
          </c:tx>
          <c:spPr>
            <a:solidFill>
              <a:srgbClr val="00A097"/>
            </a:solidFill>
            <a:ln>
              <a:solidFill>
                <a:schemeClr val="bg1"/>
              </a:solidFill>
            </a:ln>
            <a:effectLst/>
          </c:spPr>
          <c:invertIfNegative val="0"/>
          <c:dLbls>
            <c:dLbl>
              <c:idx val="0"/>
              <c:tx>
                <c:rich>
                  <a:bodyPr/>
                  <a:lstStyle/>
                  <a:p>
                    <a:r>
                      <a:rPr>
                        <a:solidFill>
                          <a:srgbClr val="FFFFFF"/>
                        </a:solidFill>
                      </a:rPr>
                      <a:t>20.6</a:t>
                    </a:r>
                  </a:p>
                </c:rich>
              </c:tx>
              <c:showLegendKey val="0"/>
              <c:showVal val="1"/>
              <c:showCatName val="0"/>
              <c:showSerName val="0"/>
              <c:showPercent val="0"/>
              <c:showBubbleSize val="0"/>
            </c:dLbl>
            <c:dLbl>
              <c:idx val="1"/>
              <c:tx>
                <c:rich>
                  <a:bodyPr/>
                  <a:lstStyle/>
                  <a:p>
                    <a:r>
                      <a:rPr>
                        <a:solidFill>
                          <a:srgbClr val="FFFFFF"/>
                        </a:solidFill>
                      </a:rPr>
                      <a:t>22.7</a:t>
                    </a:r>
                  </a:p>
                </c:rich>
              </c:tx>
              <c:showLegendKey val="0"/>
              <c:showVal val="1"/>
              <c:showCatName val="0"/>
              <c:showSerName val="0"/>
              <c:showPercent val="0"/>
              <c:showBubbleSize val="0"/>
            </c:dLbl>
            <c:dLbl>
              <c:idx val="2"/>
              <c:tx>
                <c:rich>
                  <a:bodyPr/>
                  <a:lstStyle/>
                  <a:p>
                    <a:r>
                      <a:rPr>
                        <a:solidFill>
                          <a:srgbClr val="FFFFFF"/>
                        </a:solidFill>
                      </a:rPr>
                      <a:t>1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0.644312</c:v>
                </c:pt>
                <c:pt idx="1">
                  <c:v>22.690579</c:v>
                </c:pt>
                <c:pt idx="2">
                  <c:v>15.68268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551512</c:v>
                </c:pt>
                <c:pt idx="1">
                  <c:v>4.422557</c:v>
                </c:pt>
                <c:pt idx="2">
                  <c:v>2.88159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868324</c:v>
                </c:pt>
                <c:pt idx="1">
                  <c:v>5.852144</c:v>
                </c:pt>
                <c:pt idx="2">
                  <c:v>4.1415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395502</c:v>
                </c:pt>
                <c:pt idx="1">
                  <c:v>9.931166</c:v>
                </c:pt>
                <c:pt idx="2">
                  <c:v>7.21575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4464</c:v>
                </c:pt>
                <c:pt idx="1">
                  <c:v>2.195131</c:v>
                </c:pt>
                <c:pt idx="2">
                  <c:v>1.488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36211</c:v>
                </c:pt>
                <c:pt idx="1">
                  <c:v>0.012511</c:v>
                </c:pt>
                <c:pt idx="2">
                  <c:v>4.4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a:solidFill>
                          <a:srgbClr val="FFFFFF"/>
                        </a:solidFill>
                      </a:rPr>
                      <a:t>29.3</a:t>
                    </a:r>
                  </a:p>
                </c:rich>
              </c:tx>
              <c:showLegendKey val="0"/>
              <c:showVal val="1"/>
              <c:showCatName val="0"/>
              <c:showSerName val="0"/>
              <c:showPercent val="0"/>
              <c:showBubbleSize val="0"/>
            </c:dLbl>
            <c:dLbl>
              <c:idx val="1"/>
              <c:tx>
                <c:rich>
                  <a:bodyPr/>
                  <a:lstStyle/>
                  <a:p>
                    <a:r>
                      <a:rPr>
                        <a:solidFill>
                          <a:srgbClr val="FFFFFF"/>
                        </a:solidFill>
                      </a:rPr>
                      <a:t>29.8</a:t>
                    </a:r>
                  </a:p>
                </c:rich>
              </c:tx>
              <c:showLegendKey val="0"/>
              <c:showVal val="1"/>
              <c:showCatName val="0"/>
              <c:showSerName val="0"/>
              <c:showPercent val="0"/>
              <c:showBubbleSize val="0"/>
            </c:dLbl>
            <c:dLbl>
              <c:idx val="2"/>
              <c:tx>
                <c:rich>
                  <a:bodyPr/>
                  <a:lstStyle/>
                  <a:p>
                    <a:r>
                      <a:rPr>
                        <a:solidFill>
                          <a:srgbClr val="FFFFFF"/>
                        </a:solidFill>
                      </a:rPr>
                      <a:t>1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9.331474</c:v>
                </c:pt>
                <c:pt idx="1">
                  <c:v>29.809455</c:v>
                </c:pt>
                <c:pt idx="2">
                  <c:v>18.0679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a:solidFill>
                          <a:srgbClr val="FFFFFF"/>
                        </a:solidFill>
                      </a:rPr>
                      <a:t>25.8</a:t>
                    </a:r>
                  </a:p>
                </c:rich>
              </c:tx>
              <c:showLegendKey val="0"/>
              <c:showVal val="1"/>
              <c:showCatName val="0"/>
              <c:showSerName val="0"/>
              <c:showPercent val="0"/>
              <c:showBubbleSize val="0"/>
            </c:dLbl>
            <c:dLbl>
              <c:idx val="1"/>
              <c:tx>
                <c:rich>
                  <a:bodyPr/>
                  <a:lstStyle/>
                  <a:p>
                    <a:r>
                      <a:rPr>
                        <a:solidFill>
                          <a:srgbClr val="FFFFFF"/>
                        </a:solidFill>
                      </a:rPr>
                      <a:t>25.6</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5.761191</c:v>
                </c:pt>
                <c:pt idx="1">
                  <c:v>25.625679</c:v>
                </c:pt>
                <c:pt idx="2">
                  <c:v>17.4257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a:solidFill>
                          <a:srgbClr val="FFFFFF"/>
                        </a:solidFill>
                      </a:rPr>
                      <a:t>24.0</a:t>
                    </a:r>
                  </a:p>
                </c:rich>
              </c:tx>
              <c:showLegendKey val="0"/>
              <c:showVal val="1"/>
              <c:showCatName val="0"/>
              <c:showSerName val="0"/>
              <c:showPercent val="0"/>
              <c:showBubbleSize val="0"/>
            </c:dLbl>
            <c:dLbl>
              <c:idx val="1"/>
              <c:tx>
                <c:rich>
                  <a:bodyPr/>
                  <a:lstStyle/>
                  <a:p>
                    <a:r>
                      <a:rPr>
                        <a:solidFill>
                          <a:srgbClr val="FFFFFF"/>
                        </a:solidFill>
                      </a:rPr>
                      <a:t>23.5</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4.041487</c:v>
                </c:pt>
                <c:pt idx="1">
                  <c:v>23.548879</c:v>
                </c:pt>
                <c:pt idx="2">
                  <c:v>17.3971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926348</c:v>
                </c:pt>
                <c:pt idx="1">
                  <c:v>5.36483</c:v>
                </c:pt>
                <c:pt idx="2">
                  <c:v>3.8296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99962</c:v>
                </c:pt>
                <c:pt idx="1">
                  <c:v>0.028349</c:v>
                </c:pt>
                <c:pt idx="2">
                  <c:v>4.3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551512</c:v>
                </c:pt>
                <c:pt idx="1">
                  <c:v>4.422557</c:v>
                </c:pt>
                <c:pt idx="2">
                  <c:v>2.88159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868324</c:v>
                </c:pt>
                <c:pt idx="1">
                  <c:v>5.852144</c:v>
                </c:pt>
                <c:pt idx="2">
                  <c:v>4.1415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395502</c:v>
                </c:pt>
                <c:pt idx="1">
                  <c:v>9.931166</c:v>
                </c:pt>
                <c:pt idx="2">
                  <c:v>7.21575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4464</c:v>
                </c:pt>
                <c:pt idx="1">
                  <c:v>2.195131</c:v>
                </c:pt>
                <c:pt idx="2">
                  <c:v>1.488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36211</c:v>
                </c:pt>
                <c:pt idx="1">
                  <c:v>0.012511</c:v>
                </c:pt>
                <c:pt idx="2">
                  <c:v>4.4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a:solidFill>
                          <a:srgbClr val="FFFFFF"/>
                        </a:solidFill>
                      </a:rPr>
                      <a:t>29.3</a:t>
                    </a:r>
                  </a:p>
                </c:rich>
              </c:tx>
              <c:showLegendKey val="0"/>
              <c:showVal val="1"/>
              <c:showCatName val="0"/>
              <c:showSerName val="0"/>
              <c:showPercent val="0"/>
              <c:showBubbleSize val="0"/>
            </c:dLbl>
            <c:dLbl>
              <c:idx val="1"/>
              <c:tx>
                <c:rich>
                  <a:bodyPr/>
                  <a:lstStyle/>
                  <a:p>
                    <a:r>
                      <a:rPr>
                        <a:solidFill>
                          <a:srgbClr val="FFFFFF"/>
                        </a:solidFill>
                      </a:rPr>
                      <a:t>29.8</a:t>
                    </a:r>
                  </a:p>
                </c:rich>
              </c:tx>
              <c:showLegendKey val="0"/>
              <c:showVal val="1"/>
              <c:showCatName val="0"/>
              <c:showSerName val="0"/>
              <c:showPercent val="0"/>
              <c:showBubbleSize val="0"/>
            </c:dLbl>
            <c:dLbl>
              <c:idx val="2"/>
              <c:tx>
                <c:rich>
                  <a:bodyPr/>
                  <a:lstStyle/>
                  <a:p>
                    <a:r>
                      <a:rPr>
                        <a:solidFill>
                          <a:srgbClr val="FFFFFF"/>
                        </a:solidFill>
                      </a:rPr>
                      <a:t>1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9.331474</c:v>
                </c:pt>
                <c:pt idx="1">
                  <c:v>29.809455</c:v>
                </c:pt>
                <c:pt idx="2">
                  <c:v>18.0679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a:solidFill>
                          <a:srgbClr val="FFFFFF"/>
                        </a:solidFill>
                      </a:rPr>
                      <a:t>25.8</a:t>
                    </a:r>
                  </a:p>
                </c:rich>
              </c:tx>
              <c:showLegendKey val="0"/>
              <c:showVal val="1"/>
              <c:showCatName val="0"/>
              <c:showSerName val="0"/>
              <c:showPercent val="0"/>
              <c:showBubbleSize val="0"/>
            </c:dLbl>
            <c:dLbl>
              <c:idx val="1"/>
              <c:tx>
                <c:rich>
                  <a:bodyPr/>
                  <a:lstStyle/>
                  <a:p>
                    <a:r>
                      <a:rPr>
                        <a:solidFill>
                          <a:srgbClr val="FFFFFF"/>
                        </a:solidFill>
                      </a:rPr>
                      <a:t>25.6</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5.761191</c:v>
                </c:pt>
                <c:pt idx="1">
                  <c:v>25.625679</c:v>
                </c:pt>
                <c:pt idx="2">
                  <c:v>17.4257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a:solidFill>
                          <a:srgbClr val="FFFFFF"/>
                        </a:solidFill>
                      </a:rPr>
                      <a:t>24.0</a:t>
                    </a:r>
                  </a:p>
                </c:rich>
              </c:tx>
              <c:showLegendKey val="0"/>
              <c:showVal val="1"/>
              <c:showCatName val="0"/>
              <c:showSerName val="0"/>
              <c:showPercent val="0"/>
              <c:showBubbleSize val="0"/>
            </c:dLbl>
            <c:dLbl>
              <c:idx val="1"/>
              <c:tx>
                <c:rich>
                  <a:bodyPr/>
                  <a:lstStyle/>
                  <a:p>
                    <a:r>
                      <a:rPr>
                        <a:solidFill>
                          <a:srgbClr val="FFFFFF"/>
                        </a:solidFill>
                      </a:rPr>
                      <a:t>23.5</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4.041487</c:v>
                </c:pt>
                <c:pt idx="1">
                  <c:v>23.548879</c:v>
                </c:pt>
                <c:pt idx="2">
                  <c:v>17.39717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926348</c:v>
                </c:pt>
                <c:pt idx="1">
                  <c:v>5.36483</c:v>
                </c:pt>
                <c:pt idx="2">
                  <c:v>3.8296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99962</c:v>
                </c:pt>
                <c:pt idx="1">
                  <c:v>0.028349</c:v>
                </c:pt>
                <c:pt idx="2">
                  <c:v>4.3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7.8</a:t>
                    </a:r>
                  </a:p>
                </c:rich>
              </c:tx>
              <c:showLegendKey val="0"/>
              <c:showVal val="1"/>
              <c:showCatName val="0"/>
              <c:showSerName val="0"/>
              <c:showPercent val="0"/>
              <c:showBubbleSize val="0"/>
            </c:dLbl>
            <c:dLbl>
              <c:idx val="2"/>
              <c:tx>
                <c:rich>
                  <a:bodyPr/>
                  <a:lstStyle/>
                  <a:p>
                    <a:r>
                      <a:rPr>
                        <a:solidFill>
                          <a:srgbClr val="FFFFFF"/>
                        </a:solidFill>
                      </a:rPr>
                      <a:t>8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36.891526</c:v>
                </c:pt>
                <c:pt idx="1">
                  <c:v>127.829681</c:v>
                </c:pt>
                <c:pt idx="2">
                  <c:v>87.85429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3</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6.623279</c:v>
                </c:pt>
                <c:pt idx="1">
                  <c:v>27.284942</c:v>
                </c:pt>
                <c:pt idx="2">
                  <c:v>18.94382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azor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4.14758</c:v>
                </c:pt>
                <c:pt idx="1">
                  <c:v>13.022803</c:v>
                </c:pt>
                <c:pt idx="2">
                  <c:v>8.98106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3.278635</c:v>
                </c:pt>
                <c:pt idx="1">
                  <c:v>13.596845</c:v>
                </c:pt>
                <c:pt idx="2">
                  <c:v>9.27792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32446</c:v>
                </c:pt>
                <c:pt idx="1">
                  <c:v>2.859271</c:v>
                </c:pt>
                <c:pt idx="2">
                  <c:v>0.47851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Disposable</c:v>
                </c:pt>
              </c:strCache>
            </c:strRef>
          </c:tx>
          <c:spPr>
            <a:solidFill>
              <a:srgbClr val="00504B"/>
            </a:solidFill>
            <a:ln>
              <a:solidFill>
                <a:schemeClr val="bg1"/>
              </a:solidFill>
            </a:ln>
            <a:effectLst/>
          </c:spPr>
          <c:invertIfNegative val="0"/>
          <c:dLbls>
            <c:dLbl>
              <c:idx val="0"/>
              <c:tx>
                <c:rich>
                  <a:bodyPr/>
                  <a:lstStyle/>
                  <a:p>
                    <a:r>
                      <a:rPr>
                        <a:solidFill>
                          <a:srgbClr val="FFFFFF"/>
                        </a:solidFill>
                      </a:rPr>
                      <a:t>138.7</a:t>
                    </a:r>
                  </a:p>
                </c:rich>
              </c:tx>
              <c:showLegendKey val="0"/>
              <c:showVal val="1"/>
              <c:showCatName val="0"/>
              <c:showSerName val="0"/>
              <c:showPercent val="0"/>
              <c:showBubbleSize val="0"/>
            </c:dLbl>
            <c:dLbl>
              <c:idx val="1"/>
              <c:tx>
                <c:rich>
                  <a:bodyPr/>
                  <a:lstStyle/>
                  <a:p>
                    <a:r>
                      <a:rPr>
                        <a:solidFill>
                          <a:srgbClr val="FFFFFF"/>
                        </a:solidFill>
                      </a:rPr>
                      <a:t>136.5</a:t>
                    </a:r>
                  </a:p>
                </c:rich>
              </c:tx>
              <c:showLegendKey val="0"/>
              <c:showVal val="1"/>
              <c:showCatName val="0"/>
              <c:showSerName val="0"/>
              <c:showPercent val="0"/>
              <c:showBubbleSize val="0"/>
            </c:dLbl>
            <c:dLbl>
              <c:idx val="2"/>
              <c:tx>
                <c:rich>
                  <a:bodyPr/>
                  <a:lstStyle/>
                  <a:p>
                    <a:r>
                      <a:rPr>
                        <a:solidFill>
                          <a:srgbClr val="FFFFFF"/>
                        </a:solidFill>
                      </a:rPr>
                      <a:t>9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38.677796</c:v>
                </c:pt>
                <c:pt idx="1">
                  <c:v>136.476903</c:v>
                </c:pt>
                <c:pt idx="2">
                  <c:v>92.0480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a:solidFill>
                          <a:srgbClr val="FFFFFF"/>
                        </a:solidFill>
                      </a:rPr>
                      <a:t>81.7</a:t>
                    </a:r>
                  </a:p>
                </c:rich>
              </c:tx>
              <c:showLegendKey val="0"/>
              <c:showVal val="1"/>
              <c:showCatName val="0"/>
              <c:showSerName val="0"/>
              <c:showPercent val="0"/>
              <c:showBubbleSize val="0"/>
            </c:dLbl>
            <c:dLbl>
              <c:idx val="1"/>
              <c:tx>
                <c:rich>
                  <a:bodyPr/>
                  <a:lstStyle/>
                  <a:p>
                    <a:r>
                      <a:rPr>
                        <a:solidFill>
                          <a:srgbClr val="FFFFFF"/>
                        </a:solidFill>
                      </a:rPr>
                      <a:t>83.1</a:t>
                    </a:r>
                  </a:p>
                </c:rich>
              </c:tx>
              <c:showLegendKey val="0"/>
              <c:showVal val="1"/>
              <c:showCatName val="0"/>
              <c:showSerName val="0"/>
              <c:showPercent val="0"/>
              <c:showBubbleSize val="0"/>
            </c:dLbl>
            <c:dLbl>
              <c:idx val="2"/>
              <c:tx>
                <c:rich>
                  <a:bodyPr/>
                  <a:lstStyle/>
                  <a:p>
                    <a:r>
                      <a:rPr>
                        <a:solidFill>
                          <a:srgbClr val="FFFFFF"/>
                        </a:solidFill>
                      </a:rPr>
                      <a:t>5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81.746778</c:v>
                </c:pt>
                <c:pt idx="1">
                  <c:v>83.136914</c:v>
                </c:pt>
                <c:pt idx="2">
                  <c:v>56.69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azors</c:v>
                </c:pt>
              </c:strCache>
            </c:strRef>
          </c:tx>
          <c:spPr>
            <a:solidFill>
              <a:srgbClr val="00A097"/>
            </a:solidFill>
            <a:ln>
              <a:solidFill>
                <a:schemeClr val="bg1"/>
              </a:solidFill>
            </a:ln>
            <a:effectLst/>
          </c:spPr>
          <c:invertIfNegative val="0"/>
          <c:dLbls>
            <c:dLbl>
              <c:idx val="0"/>
              <c:tx>
                <c:rich>
                  <a:bodyPr/>
                  <a:lstStyle/>
                  <a:p>
                    <a:r>
                      <a:rPr>
                        <a:solidFill>
                          <a:srgbClr val="FFFFFF"/>
                        </a:solidFill>
                      </a:rPr>
                      <a:t>69.6</a:t>
                    </a:r>
                  </a:p>
                </c:rich>
              </c:tx>
              <c:showLegendKey val="0"/>
              <c:showVal val="1"/>
              <c:showCatName val="0"/>
              <c:showSerName val="0"/>
              <c:showPercent val="0"/>
              <c:showBubbleSize val="0"/>
            </c:dLbl>
            <c:dLbl>
              <c:idx val="1"/>
              <c:tx>
                <c:rich>
                  <a:bodyPr/>
                  <a:lstStyle/>
                  <a:p>
                    <a:r>
                      <a:rPr>
                        <a:solidFill>
                          <a:srgbClr val="FFFFFF"/>
                        </a:solidFill>
                      </a:rPr>
                      <a:t>66.5</a:t>
                    </a:r>
                  </a:p>
                </c:rich>
              </c:tx>
              <c:showLegendKey val="0"/>
              <c:showVal val="1"/>
              <c:showCatName val="0"/>
              <c:showSerName val="0"/>
              <c:showPercent val="0"/>
              <c:showBubbleSize val="0"/>
            </c:dLbl>
            <c:dLbl>
              <c:idx val="2"/>
              <c:tx>
                <c:rich>
                  <a:bodyPr/>
                  <a:lstStyle/>
                  <a:p>
                    <a:r>
                      <a:rPr>
                        <a:solidFill>
                          <a:srgbClr val="FFFFFF"/>
                        </a:solidFill>
                      </a:rPr>
                      <a:t>4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9.550517</c:v>
                </c:pt>
                <c:pt idx="1">
                  <c:v>66.516319</c:v>
                </c:pt>
                <c:pt idx="2">
                  <c:v>45.74804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ermaplane</c:v>
                </c:pt>
              </c:strCache>
            </c:strRef>
          </c:tx>
          <c:spPr>
            <a:solidFill>
              <a:srgbClr val="7ECAC4"/>
            </a:solidFill>
            <a:ln>
              <a:solidFill>
                <a:schemeClr val="bg1"/>
              </a:solidFill>
            </a:ln>
            <a:effectLst/>
          </c:spPr>
          <c:invertIfNegative val="0"/>
          <c:dLbls>
            <c:dLbl>
              <c:idx val="0"/>
              <c:tx>
                <c:rich>
                  <a:bodyPr/>
                  <a:lstStyle/>
                  <a:p>
                    <a:r>
                      <a:rPr>
                        <a:solidFill>
                          <a:srgbClr val="FFFFFF"/>
                        </a:solidFill>
                      </a:rPr>
                      <a:t>20.6</a:t>
                    </a:r>
                  </a:p>
                </c:rich>
              </c:tx>
              <c:showLegendKey val="0"/>
              <c:showVal val="1"/>
              <c:showCatName val="0"/>
              <c:showSerName val="0"/>
              <c:showPercent val="0"/>
              <c:showBubbleSize val="0"/>
            </c:dLbl>
            <c:dLbl>
              <c:idx val="1"/>
              <c:tx>
                <c:rich>
                  <a:bodyPr/>
                  <a:lstStyle/>
                  <a:p>
                    <a:r>
                      <a:rPr>
                        <a:solidFill>
                          <a:srgbClr val="FFFFFF"/>
                        </a:solidFill>
                      </a:rPr>
                      <a:t>22.7</a:t>
                    </a:r>
                  </a:p>
                </c:rich>
              </c:tx>
              <c:showLegendKey val="0"/>
              <c:showVal val="1"/>
              <c:showCatName val="0"/>
              <c:showSerName val="0"/>
              <c:showPercent val="0"/>
              <c:showBubbleSize val="0"/>
            </c:dLbl>
            <c:dLbl>
              <c:idx val="2"/>
              <c:tx>
                <c:rich>
                  <a:bodyPr/>
                  <a:lstStyle/>
                  <a:p>
                    <a:r>
                      <a:rPr>
                        <a:solidFill>
                          <a:srgbClr val="FFFFFF"/>
                        </a:solidFill>
                      </a:rPr>
                      <a:t>1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0.644312</c:v>
                </c:pt>
                <c:pt idx="1">
                  <c:v>22.690579</c:v>
                </c:pt>
                <c:pt idx="2">
                  <c:v>15.68268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Hybrid</c:v>
                </c:pt>
              </c:strCache>
            </c:strRef>
          </c:tx>
          <c:spPr>
            <a:solidFill>
              <a:srgbClr val="99C7C5"/>
            </a:solidFill>
            <a:ln>
              <a:solidFill>
                <a:schemeClr val="bg1"/>
              </a:solidFill>
            </a:ln>
            <a:effectLst/>
          </c:spPr>
          <c:invertIfNegative val="0"/>
          <c:dLbls>
            <c:dLbl>
              <c:idx val="0"/>
              <c:tx>
                <c:rich>
                  <a:bodyPr/>
                  <a:lstStyle/>
                  <a:p>
                    <a:r>
                      <a:rPr>
                        <a:solidFill>
                          <a:srgbClr val="FFFFFF"/>
                        </a:solidFill>
                      </a:rPr>
                      <a:t>3.5</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530135</c:v>
                </c:pt>
                <c:pt idx="1">
                  <c:v>4.210572</c:v>
                </c:pt>
                <c:pt idx="2">
                  <c:v>0.71907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357244</c:v>
                </c:pt>
                <c:pt idx="1">
                  <c:v>4.834124</c:v>
                </c:pt>
                <c:pt idx="2">
                  <c:v>3.29862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170642</c:v>
                </c:pt>
                <c:pt idx="1">
                  <c:v>3.070048</c:v>
                </c:pt>
                <c:pt idx="2">
                  <c:v>3.1459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809</c:v>
                </c:pt>
                <c:pt idx="1">
                  <c:v>2.240698</c:v>
                </c:pt>
                <c:pt idx="2">
                  <c:v>1.70518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00475</c:v>
                </c:pt>
                <c:pt idx="1">
                  <c:v>0.194861</c:v>
                </c:pt>
                <c:pt idx="2">
                  <c:v>0.0489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zors</c:v>
                </c:pt>
              </c:strCache>
            </c:strRef>
          </c:tx>
          <c:spPr>
            <a:solidFill>
              <a:srgbClr val="00504B"/>
            </a:solidFill>
            <a:ln>
              <a:solidFill>
                <a:schemeClr val="bg1"/>
              </a:solidFill>
            </a:ln>
            <a:effectLst/>
          </c:spPr>
          <c:invertIfNegative val="0"/>
          <c:dLbls>
            <c:dLbl>
              <c:idx val="0"/>
              <c:tx>
                <c:rich>
                  <a:bodyPr/>
                  <a:lstStyle/>
                  <a:p>
                    <a:r>
                      <a:rPr>
                        <a:solidFill>
                          <a:srgbClr val="FFFFFF"/>
                        </a:solidFill>
                      </a:rPr>
                      <a:t>14.2</a:t>
                    </a:r>
                  </a:p>
                </c:rich>
              </c:tx>
              <c:showLegendKey val="0"/>
              <c:showVal val="1"/>
              <c:showCatName val="0"/>
              <c:showSerName val="0"/>
              <c:showPercent val="0"/>
              <c:showBubbleSize val="0"/>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4.217151</c:v>
                </c:pt>
                <c:pt idx="1">
                  <c:v>13.919956</c:v>
                </c:pt>
                <c:pt idx="2">
                  <c:v>9.59364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efills</c:v>
                </c:pt>
              </c:strCache>
            </c:strRef>
          </c:tx>
          <c:spPr>
            <a:solidFill>
              <a:srgbClr val="006C6D"/>
            </a:solidFill>
            <a:ln>
              <a:solidFill>
                <a:schemeClr val="bg1"/>
              </a:solidFill>
            </a:ln>
            <a:effectLst/>
          </c:spPr>
          <c:invertIfNegative val="0"/>
          <c:dLbls>
            <c:dLbl>
              <c:idx val="0"/>
              <c:tx>
                <c:rich>
                  <a:bodyPr/>
                  <a:lstStyle/>
                  <a:p>
                    <a:r>
                      <a:rPr>
                        <a:solidFill>
                          <a:srgbClr val="FFFFFF"/>
                        </a:solidFill>
                      </a:rPr>
                      <a:t>6.7</a:t>
                    </a:r>
                  </a:p>
                </c:rich>
              </c:tx>
              <c:showLegendKey val="0"/>
              <c:showVal val="1"/>
              <c:showCatName val="0"/>
              <c:showSerName val="0"/>
              <c:showPercent val="0"/>
              <c:showBubbleSize val="0"/>
            </c:dLbl>
            <c:dLbl>
              <c:idx val="1"/>
              <c:tx>
                <c:rich>
                  <a:bodyPr/>
                  <a:lstStyle/>
                  <a:p>
                    <a:r>
                      <a:rPr>
                        <a:solidFill>
                          <a:srgbClr val="FFFFFF"/>
                        </a:solidFill>
                      </a:rPr>
                      <a:t>9.2</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728796</c:v>
                </c:pt>
                <c:pt idx="1">
                  <c:v>9.212612</c:v>
                </c:pt>
                <c:pt idx="2">
                  <c:v>8.6640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Disposable</c:v>
                </c:pt>
              </c:strCache>
            </c:strRef>
          </c:tx>
          <c:spPr>
            <a:solidFill>
              <a:srgbClr val="00A097"/>
            </a:solidFill>
            <a:ln>
              <a:solidFill>
                <a:schemeClr val="bg1"/>
              </a:solidFill>
            </a:ln>
            <a:effectLst/>
          </c:spPr>
          <c:invertIfNegative val="0"/>
          <c:dLbls>
            <c:dLbl>
              <c:idx val="0"/>
              <c:tx>
                <c:rich>
                  <a:bodyPr/>
                  <a:lstStyle/>
                  <a:p>
                    <a:r>
                      <a:rPr>
                        <a:solidFill>
                          <a:srgbClr val="FFFFFF"/>
                        </a:solidFill>
                      </a:rPr>
                      <a:t>3.4</a:t>
                    </a:r>
                  </a:p>
                </c:rich>
              </c:tx>
              <c:showLegendKey val="0"/>
              <c:showVal val="1"/>
              <c:showCatName val="0"/>
              <c:showSerName val="0"/>
              <c:showPercent val="0"/>
              <c:showBubbleSize val="0"/>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434265</c:v>
                </c:pt>
                <c:pt idx="1">
                  <c:v>3.7848</c:v>
                </c:pt>
                <c:pt idx="2">
                  <c:v>2.95802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ybrid</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25593</c:v>
                </c:pt>
                <c:pt idx="1">
                  <c:v>0.34065</c:v>
                </c:pt>
                <c:pt idx="2">
                  <c:v>0.0778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3.2</a:t>
                    </a:r>
                  </a:p>
                </c:rich>
              </c:tx>
              <c:showLegendKey val="0"/>
              <c:showVal val="1"/>
              <c:showCatName val="0"/>
              <c:showSerName val="0"/>
              <c:showPercent val="0"/>
              <c:showBubbleSize val="0"/>
            </c:dLbl>
            <c:dLbl>
              <c:idx val="2"/>
              <c:tx>
                <c:rich>
                  <a:bodyPr/>
                  <a:lstStyle/>
                  <a:p>
                    <a:r>
                      <a:rPr>
                        <a:solidFill>
                          <a:srgbClr val="FFFFFF"/>
                        </a:solidFill>
                      </a:rPr>
                      <a:t>3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3.489638</c:v>
                </c:pt>
                <c:pt idx="1">
                  <c:v>53.179143</c:v>
                </c:pt>
                <c:pt idx="2">
                  <c:v>36.40845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3</a:t>
                    </a:r>
                  </a:p>
                </c:rich>
              </c:tx>
              <c:showLegendKey val="0"/>
              <c:showVal val="1"/>
              <c:showCatName val="0"/>
              <c:showSerName val="0"/>
              <c:showPercent val="0"/>
              <c:showBubbleSize val="0"/>
            </c:dLbl>
            <c:dLbl>
              <c:idx val="2"/>
              <c:tx>
                <c:rich>
                  <a:bodyPr/>
                  <a:lstStyle/>
                  <a:p>
                    <a:r>
                      <a:rPr>
                        <a:solidFill>
                          <a:srgbClr val="FFFFFF"/>
                        </a:solidFill>
                      </a:rPr>
                      <a:t>3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62.09754</c:v>
                </c:pt>
                <c:pt idx="1">
                  <c:v>55.29359</c:v>
                </c:pt>
                <c:pt idx="2">
                  <c:v>35.7632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9</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1.407412</c:v>
                </c:pt>
                <c:pt idx="1">
                  <c:v>19.857501</c:v>
                </c:pt>
                <c:pt idx="2">
                  <c:v>11.60417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4.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8</a:t>
                    </a:r>
                  </a:p>
                </c:rich>
              </c:tx>
              <c:showLegendKey val="0"/>
              <c:showVal val="1"/>
              <c:showCatName val="0"/>
              <c:showSerName val="0"/>
              <c:showPercent val="0"/>
              <c:showBubbleSize val="0"/>
            </c:dLbl>
            <c:dLbl>
              <c:idx val="2"/>
              <c:tx>
                <c:rich>
                  <a:bodyPr/>
                  <a:lstStyle/>
                  <a:p>
                    <a:r>
                      <a:rPr>
                        <a:solidFill>
                          <a:srgbClr val="FFFFFF"/>
                        </a:solidFill>
                      </a:rPr>
                      <a:t>59.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84.487598</c:v>
                </c:pt>
                <c:pt idx="1">
                  <c:v>81.83518</c:v>
                </c:pt>
                <c:pt idx="2">
                  <c:v>59.6342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6.332092</c:v>
                </c:pt>
                <c:pt idx="1">
                  <c:v>16.883551</c:v>
                </c:pt>
                <c:pt idx="2">
                  <c:v>11.45424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410743</c:v>
                </c:pt>
                <c:pt idx="1">
                  <c:v>1.285442</c:v>
                </c:pt>
                <c:pt idx="2">
                  <c:v>0.09777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4e-05</c:v>
                </c:pt>
                <c:pt idx="1">
                  <c:v>1.1e-05</c:v>
                </c:pt>
                <c:pt idx="2">
                  <c:v>1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a:solidFill>
                          <a:srgbClr val="FFFFFF"/>
                        </a:solidFill>
                      </a:rPr>
                      <a:t>166.9</a:t>
                    </a:r>
                  </a:p>
                </c:rich>
              </c:tx>
              <c:showLegendKey val="0"/>
              <c:showVal val="1"/>
              <c:showCatName val="0"/>
              <c:showSerName val="0"/>
              <c:showPercent val="0"/>
              <c:showBubbleSize val="0"/>
            </c:dLbl>
            <c:dLbl>
              <c:idx val="1"/>
              <c:tx>
                <c:rich>
                  <a:bodyPr/>
                  <a:lstStyle/>
                  <a:p>
                    <a:r>
                      <a:rPr>
                        <a:solidFill>
                          <a:srgbClr val="FFFFFF"/>
                        </a:solidFill>
                      </a:rPr>
                      <a:t>160.6</a:t>
                    </a:r>
                  </a:p>
                </c:rich>
              </c:tx>
              <c:showLegendKey val="0"/>
              <c:showVal val="1"/>
              <c:showCatName val="0"/>
              <c:showSerName val="0"/>
              <c:showPercent val="0"/>
              <c:showBubbleSize val="0"/>
            </c:dLbl>
            <c:dLbl>
              <c:idx val="2"/>
              <c:tx>
                <c:rich>
                  <a:bodyPr/>
                  <a:lstStyle/>
                  <a:p>
                    <a:r>
                      <a:rPr>
                        <a:solidFill>
                          <a:srgbClr val="FFFFFF"/>
                        </a:solidFill>
                      </a:rPr>
                      <a:t>11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6.934758</c:v>
                </c:pt>
                <c:pt idx="1">
                  <c:v>160.647559</c:v>
                </c:pt>
                <c:pt idx="2">
                  <c:v>112.24793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a:solidFill>
                          <a:srgbClr val="FFFFFF"/>
                        </a:solidFill>
                      </a:rPr>
                      <a:t>103.2</a:t>
                    </a:r>
                  </a:p>
                </c:rich>
              </c:tx>
              <c:showLegendKey val="0"/>
              <c:showVal val="1"/>
              <c:showCatName val="0"/>
              <c:showSerName val="0"/>
              <c:showPercent val="0"/>
              <c:showBubbleSize val="0"/>
            </c:dLbl>
            <c:dLbl>
              <c:idx val="1"/>
              <c:tx>
                <c:rich>
                  <a:bodyPr/>
                  <a:lstStyle/>
                  <a:p>
                    <a:r>
                      <a:rPr>
                        <a:solidFill>
                          <a:srgbClr val="FFFFFF"/>
                        </a:solidFill>
                      </a:rPr>
                      <a:t>101.9</a:t>
                    </a:r>
                  </a:p>
                </c:rich>
              </c:tx>
              <c:showLegendKey val="0"/>
              <c:showVal val="1"/>
              <c:showCatName val="0"/>
              <c:showSerName val="0"/>
              <c:showPercent val="0"/>
              <c:showBubbleSize val="0"/>
            </c:dLbl>
            <c:dLbl>
              <c:idx val="2"/>
              <c:tx>
                <c:rich>
                  <a:bodyPr/>
                  <a:lstStyle/>
                  <a:p>
                    <a:r>
                      <a:rPr>
                        <a:solidFill>
                          <a:srgbClr val="FFFFFF"/>
                        </a:solidFill>
                      </a:rPr>
                      <a:t>6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3.233704</c:v>
                </c:pt>
                <c:pt idx="1">
                  <c:v>101.867799</c:v>
                </c:pt>
                <c:pt idx="2">
                  <c:v>66.5692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a:solidFill>
                          <a:srgbClr val="FFFFFF"/>
                        </a:solidFill>
                      </a:rPr>
                      <a:t>49.5</a:t>
                    </a:r>
                  </a:p>
                </c:rich>
              </c:tx>
              <c:showLegendKey val="0"/>
              <c:showVal val="1"/>
              <c:showCatName val="0"/>
              <c:showSerName val="0"/>
              <c:showPercent val="0"/>
              <c:showBubbleSize val="0"/>
            </c:dLbl>
            <c:dLbl>
              <c:idx val="1"/>
              <c:tx>
                <c:rich>
                  <a:bodyPr/>
                  <a:lstStyle/>
                  <a:p>
                    <a:r>
                      <a:rPr>
                        <a:solidFill>
                          <a:srgbClr val="FFFFFF"/>
                        </a:solidFill>
                      </a:rPr>
                      <a:t>49.6</a:t>
                    </a:r>
                  </a:p>
                </c:rich>
              </c:tx>
              <c:showLegendKey val="0"/>
              <c:showVal val="1"/>
              <c:showCatName val="0"/>
              <c:showSerName val="0"/>
              <c:showPercent val="0"/>
              <c:showBubbleSize val="0"/>
            </c:dLbl>
            <c:dLbl>
              <c:idx val="2"/>
              <c:tx>
                <c:rich>
                  <a:bodyPr/>
                  <a:lstStyle/>
                  <a:p>
                    <a:r>
                      <a:rPr>
                        <a:solidFill>
                          <a:srgbClr val="FFFFFF"/>
                        </a:solidFill>
                      </a:rPr>
                      <a:t>3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9.502079</c:v>
                </c:pt>
                <c:pt idx="1">
                  <c:v>49.60917</c:v>
                </c:pt>
                <c:pt idx="2">
                  <c:v>30.02884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2 Blade</c:v>
                </c:pt>
              </c:strCache>
            </c:strRef>
          </c:tx>
          <c:spPr>
            <a:solidFill>
              <a:srgbClr val="7ECAC4"/>
            </a:solidFill>
            <a:ln>
              <a:solidFill>
                <a:schemeClr val="bg1"/>
              </a:solidFill>
            </a:ln>
            <a:effectLst/>
          </c:spPr>
          <c:invertIfNegative val="0"/>
          <c:dLbls>
            <c:dLbl>
              <c:idx val="0"/>
              <c:tx>
                <c:rich>
                  <a:bodyPr/>
                  <a:lstStyle/>
                  <a:p>
                    <a:r>
                      <a:rPr>
                        <a:solidFill>
                          <a:srgbClr val="FFFFFF"/>
                        </a:solidFill>
                      </a:rPr>
                      <a:t>34.4</a:t>
                    </a:r>
                  </a:p>
                </c:rich>
              </c:tx>
              <c:showLegendKey val="0"/>
              <c:showVal val="1"/>
              <c:showCatName val="0"/>
              <c:showSerName val="0"/>
              <c:showPercent val="0"/>
              <c:showBubbleSize val="0"/>
            </c:dLbl>
            <c:dLbl>
              <c:idx val="1"/>
              <c:tx>
                <c:rich>
                  <a:bodyPr/>
                  <a:lstStyle/>
                  <a:p>
                    <a:r>
                      <a:rPr>
                        <a:solidFill>
                          <a:srgbClr val="FFFFFF"/>
                        </a:solidFill>
                      </a:rPr>
                      <a:t>34.7</a:t>
                    </a:r>
                  </a:p>
                </c:rich>
              </c:tx>
              <c:showLegendKey val="0"/>
              <c:showVal val="1"/>
              <c:showCatName val="0"/>
              <c:showSerName val="0"/>
              <c:showPercent val="0"/>
              <c:showBubbleSize val="0"/>
            </c:dLbl>
            <c:dLbl>
              <c:idx val="2"/>
              <c:tx>
                <c:rich>
                  <a:bodyPr/>
                  <a:lstStyle/>
                  <a:p>
                    <a:r>
                      <a:rPr>
                        <a:solidFill>
                          <a:srgbClr val="FFFFFF"/>
                        </a:solidFill>
                      </a:rPr>
                      <a:t>2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4.443289</c:v>
                </c:pt>
                <c:pt idx="1">
                  <c:v>34.660803</c:v>
                </c:pt>
                <c:pt idx="2">
                  <c:v>26.36971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1 Blade</c:v>
                </c:pt>
              </c:strCache>
            </c:strRef>
          </c:tx>
          <c:spPr>
            <a:solidFill>
              <a:srgbClr val="99C7C5"/>
            </a:solidFill>
            <a:ln>
              <a:solidFill>
                <a:schemeClr val="bg1"/>
              </a:solidFill>
            </a:ln>
            <a:effectLst/>
          </c:spPr>
          <c:invertIfNegative val="0"/>
          <c:dLbls>
            <c:dLbl>
              <c:idx val="0"/>
              <c:tx>
                <c:rich>
                  <a:bodyPr/>
                  <a:lstStyle/>
                  <a:p>
                    <a:r>
                      <a:rPr>
                        <a:solidFill>
                          <a:srgbClr val="FFFFFF"/>
                        </a:solidFill>
                      </a:rPr>
                      <a:t>24.9</a:t>
                    </a:r>
                  </a:p>
                </c:rich>
              </c:tx>
              <c:showLegendKey val="0"/>
              <c:showVal val="1"/>
              <c:showCatName val="0"/>
              <c:showSerName val="0"/>
              <c:showPercent val="0"/>
              <c:showBubbleSize val="0"/>
            </c:dLbl>
            <c:dLbl>
              <c:idx val="1"/>
              <c:tx>
                <c:rich>
                  <a:bodyPr/>
                  <a:lstStyle/>
                  <a:p>
                    <a:r>
                      <a:rPr>
                        <a:solidFill>
                          <a:srgbClr val="FFFFFF"/>
                        </a:solidFill>
                      </a:rPr>
                      <a:t>27.6</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929796</c:v>
                </c:pt>
                <c:pt idx="1">
                  <c:v>27.572848</c:v>
                </c:pt>
                <c:pt idx="2">
                  <c:v>18.93090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a:solidFill>
                          <a:srgbClr val="FFFFFF"/>
                        </a:solidFill>
                      </a:rPr>
                      <a:t>2.1</a:t>
                    </a:r>
                  </a:p>
                </c:rich>
              </c:tx>
              <c:showLegendKey val="0"/>
              <c:showVal val="1"/>
              <c:showCatName val="0"/>
              <c:showSerName val="0"/>
              <c:showPercent val="0"/>
              <c:showBubbleSize val="0"/>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052098</c:v>
                </c:pt>
                <c:pt idx="1">
                  <c:v>4.427755</c:v>
                </c:pt>
                <c:pt idx="2">
                  <c:v>0.26438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6e-05</c:v>
                </c:pt>
                <c:pt idx="1">
                  <c:v>2.2e-05</c:v>
                </c:pt>
                <c:pt idx="2">
                  <c:v>2e-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0</a:t>
                    </a:r>
                  </a:p>
                </c:rich>
              </c:tx>
              <c:showLegendKey val="0"/>
              <c:showVal val="1"/>
              <c:showCatName val="0"/>
              <c:showSerName val="0"/>
              <c:showPercent val="0"/>
              <c:showBubbleSize val="0"/>
            </c:dLbl>
            <c:dLbl>
              <c:idx val="2"/>
              <c:tx>
                <c:rich>
                  <a:bodyPr/>
                  <a:lstStyle/>
                  <a:p>
                    <a:r>
                      <a:rPr>
                        <a:solidFill>
                          <a:srgbClr val="FFFFFF"/>
                        </a:solidFill>
                      </a:rPr>
                      <a:t>1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3674</c:v>
                </c:pt>
                <c:pt idx="1">
                  <c:v>14.031791</c:v>
                </c:pt>
                <c:pt idx="2">
                  <c:v>12.14251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9</a:t>
                    </a:r>
                  </a:p>
                </c:rich>
              </c:tx>
              <c:showLegendKey val="0"/>
              <c:showVal val="1"/>
              <c:showCatName val="0"/>
              <c:showSerName val="0"/>
              <c:showPercent val="0"/>
              <c:showBubbleSize val="0"/>
            </c:dLbl>
            <c:dLbl>
              <c:idx val="2"/>
              <c:tx>
                <c:rich>
                  <a:bodyPr/>
                  <a:lstStyle/>
                  <a:p>
                    <a:r>
                      <a:rPr>
                        <a:solidFill>
                          <a:srgbClr val="FFFFFF"/>
                        </a:solidFill>
                      </a:rPr>
                      <a:t>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358165</c:v>
                </c:pt>
                <c:pt idx="1">
                  <c:v>11.922962</c:v>
                </c:pt>
                <c:pt idx="2">
                  <c:v>8.8435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421263</c:v>
                </c:pt>
                <c:pt idx="1">
                  <c:v>2.404008</c:v>
                </c:pt>
                <c:pt idx="2">
                  <c:v>1.86190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Rem Blades</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761123</c:v>
                </c:pt>
                <c:pt idx="1">
                  <c:v>0.681106</c:v>
                </c:pt>
                <c:pt idx="2">
                  <c:v>0.76076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6.733379</c:v>
                </c:pt>
                <c:pt idx="1">
                  <c:v>7.134321</c:v>
                </c:pt>
                <c:pt idx="2">
                  <c:v>5.9071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1 Blad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80725</c:v>
                </c:pt>
                <c:pt idx="1">
                  <c:v>0.100232</c:v>
                </c:pt>
                <c:pt idx="2">
                  <c:v>0.04241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2759</c:v>
                </c:pt>
                <c:pt idx="1">
                  <c:v>5.093295</c:v>
                </c:pt>
                <c:pt idx="2">
                  <c:v>1.2113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83622</c:v>
                </c:pt>
                <c:pt idx="1">
                  <c:v>0.300208</c:v>
                </c:pt>
                <c:pt idx="2">
                  <c:v>0.0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433341</c:v>
                </c:pt>
                <c:pt idx="1">
                  <c:v>0.537879</c:v>
                </c:pt>
                <c:pt idx="2">
                  <c:v>0.28695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92274</c:v>
                </c:pt>
                <c:pt idx="1">
                  <c:v>0.390475</c:v>
                </c:pt>
                <c:pt idx="2">
                  <c:v>0.26740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8216</c:v>
                </c:pt>
                <c:pt idx="1">
                  <c:v>0.093775</c:v>
                </c:pt>
                <c:pt idx="2">
                  <c:v>0.0540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a:solidFill>
                          <a:srgbClr val="FFFFFF"/>
                        </a:solidFill>
                      </a:rPr>
                      <a:t>32.7</a:t>
                    </a:r>
                  </a:p>
                </c:rich>
              </c:tx>
              <c:showLegendKey val="0"/>
              <c:showVal val="1"/>
              <c:showCatName val="0"/>
              <c:showSerName val="0"/>
              <c:showPercent val="0"/>
              <c:showBubbleSize val="0"/>
            </c:dLbl>
            <c:dLbl>
              <c:idx val="1"/>
              <c:tx>
                <c:rich>
                  <a:bodyPr/>
                  <a:lstStyle/>
                  <a:p>
                    <a:r>
                      <a:rPr>
                        <a:solidFill>
                          <a:srgbClr val="FFFFFF"/>
                        </a:solidFill>
                      </a:rPr>
                      <a:t>39.9</a:t>
                    </a:r>
                  </a:p>
                </c:rich>
              </c:tx>
              <c:showLegendKey val="0"/>
              <c:showVal val="1"/>
              <c:showCatName val="0"/>
              <c:showSerName val="0"/>
              <c:showPercent val="0"/>
              <c:showBubbleSize val="0"/>
            </c:dLbl>
            <c:dLbl>
              <c:idx val="2"/>
              <c:tx>
                <c:rich>
                  <a:bodyPr/>
                  <a:lstStyle/>
                  <a:p>
                    <a:r>
                      <a:rPr>
                        <a:solidFill>
                          <a:srgbClr val="FFFFFF"/>
                        </a:solidFill>
                      </a:rPr>
                      <a:t>3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709019</c:v>
                </c:pt>
                <c:pt idx="1">
                  <c:v>39.882678</c:v>
                </c:pt>
                <c:pt idx="2">
                  <c:v>31.67496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a:solidFill>
                          <a:srgbClr val="FFFFFF"/>
                        </a:solidFill>
                      </a:rPr>
                      <a:t>24.4</a:t>
                    </a:r>
                  </a:p>
                </c:rich>
              </c:tx>
              <c:showLegendKey val="0"/>
              <c:showVal val="1"/>
              <c:showCatName val="0"/>
              <c:showSerName val="0"/>
              <c:showPercent val="0"/>
              <c:showBubbleSize val="0"/>
            </c:dLbl>
            <c:dLbl>
              <c:idx val="1"/>
              <c:tx>
                <c:rich>
                  <a:bodyPr/>
                  <a:lstStyle/>
                  <a:p>
                    <a:r>
                      <a:rPr>
                        <a:solidFill>
                          <a:srgbClr val="FFFFFF"/>
                        </a:solidFill>
                      </a:rPr>
                      <a:t>27.1</a:t>
                    </a:r>
                  </a:p>
                </c:rich>
              </c:tx>
              <c:showLegendKey val="0"/>
              <c:showVal val="1"/>
              <c:showCatName val="0"/>
              <c:showSerName val="0"/>
              <c:showPercent val="0"/>
              <c:showBubbleSize val="0"/>
            </c:dLbl>
            <c:dLbl>
              <c:idx val="2"/>
              <c:tx>
                <c:rich>
                  <a:bodyPr/>
                  <a:lstStyle/>
                  <a:p>
                    <a:r>
                      <a:rPr>
                        <a:solidFill>
                          <a:srgbClr val="FFFFFF"/>
                        </a:solidFill>
                      </a:rPr>
                      <a:t>2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4.374955</c:v>
                </c:pt>
                <c:pt idx="1">
                  <c:v>27.084239</c:v>
                </c:pt>
                <c:pt idx="2">
                  <c:v>20.4770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a:solidFill>
                          <a:srgbClr val="FFFFFF"/>
                        </a:solidFill>
                      </a:rPr>
                      <a:t>6.5</a:t>
                    </a:r>
                  </a:p>
                </c:rich>
              </c:tx>
              <c:showLegendKey val="0"/>
              <c:showVal val="1"/>
              <c:showCatName val="0"/>
              <c:showSerName val="0"/>
              <c:showPercent val="0"/>
              <c:showBubbleSize val="0"/>
            </c:dLbl>
            <c:dLbl>
              <c:idx val="1"/>
              <c:tx>
                <c:rich>
                  <a:bodyPr/>
                  <a:lstStyle/>
                  <a:p>
                    <a:r>
                      <a:rPr>
                        <a:solidFill>
                          <a:srgbClr val="FFFFFF"/>
                        </a:solidFill>
                      </a:rPr>
                      <a:t>6.7</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6.549326</c:v>
                </c:pt>
                <c:pt idx="1">
                  <c:v>6.682641</c:v>
                </c:pt>
                <c:pt idx="2">
                  <c:v>4.69923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Rem Blades</c:v>
                </c:pt>
              </c:strCache>
            </c:strRef>
          </c:tx>
          <c:spPr>
            <a:solidFill>
              <a:srgbClr val="7ECAC4"/>
            </a:solidFill>
            <a:ln>
              <a:solidFill>
                <a:schemeClr val="bg1"/>
              </a:solidFill>
            </a:ln>
            <a:effectLst/>
          </c:spPr>
          <c:invertIfNegative val="0"/>
          <c:dLbls>
            <c:dLbl>
              <c:idx val="0"/>
              <c:tx>
                <c:rich>
                  <a:bodyPr/>
                  <a:lstStyle/>
                  <a:p>
                    <a:r>
                      <a:rPr>
                        <a:solidFill>
                          <a:srgbClr val="FFFFFF"/>
                        </a:solidFill>
                      </a:rPr>
                      <a:t>3.5</a:t>
                    </a:r>
                  </a:p>
                </c:rich>
              </c:tx>
              <c:showLegendKey val="0"/>
              <c:showVal val="1"/>
              <c:showCatName val="0"/>
              <c:showSerName val="0"/>
              <c:showPercent val="0"/>
              <c:showBubbleSize val="0"/>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482308</c:v>
                </c:pt>
                <c:pt idx="1">
                  <c:v>3.124679</c:v>
                </c:pt>
                <c:pt idx="2">
                  <c:v>3.06589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tx>
                <c:rich>
                  <a:bodyPr/>
                  <a:lstStyle/>
                  <a:p>
                    <a:r>
                      <a:rPr>
                        <a:solidFill>
                          <a:srgbClr val="FFFFFF"/>
                        </a:solidFill>
                      </a:rPr>
                      <a:t>3.0</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025175</c:v>
                </c:pt>
                <c:pt idx="1">
                  <c:v>3.652451</c:v>
                </c:pt>
                <c:pt idx="2">
                  <c:v>4.1787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1 Blad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7527</c:v>
                </c:pt>
                <c:pt idx="1">
                  <c:v>0.056554</c:v>
                </c:pt>
                <c:pt idx="2">
                  <c:v>0.02185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51557</c:v>
                </c:pt>
                <c:pt idx="1">
                  <c:v>5.661555</c:v>
                </c:pt>
                <c:pt idx="2">
                  <c:v>3.9651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7.068174</c:v>
                </c:pt>
                <c:pt idx="1">
                  <c:v>7.125976</c:v>
                </c:pt>
                <c:pt idx="2">
                  <c:v>6.2955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824</c:v>
                </c:pt>
                <c:pt idx="1">
                  <c:v>5.284113</c:v>
                </c:pt>
                <c:pt idx="2">
                  <c:v>2.73208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384466</c:v>
                </c:pt>
                <c:pt idx="1">
                  <c:v>2.195131</c:v>
                </c:pt>
                <c:pt idx="2">
                  <c:v>1.488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98205</c:v>
                </c:pt>
                <c:pt idx="1">
                  <c:v>2.098638</c:v>
                </c:pt>
                <c:pt idx="2">
                  <c:v>1.20970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5591</c:v>
                </c:pt>
                <c:pt idx="1">
                  <c:v>0.048096</c:v>
                </c:pt>
                <c:pt idx="2">
                  <c:v>0.03644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7e-06</c:v>
                </c:pt>
                <c:pt idx="1">
                  <c:v>0.0</c:v>
                </c:pt>
                <c:pt idx="2">
                  <c:v>0.0</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a:solidFill>
                          <a:srgbClr val="FFFFFF"/>
                        </a:solidFill>
                      </a:rPr>
                      <a:t>30.6</a:t>
                    </a:r>
                  </a:p>
                </c:rich>
              </c:tx>
              <c:showLegendKey val="0"/>
              <c:showVal val="1"/>
              <c:showCatName val="0"/>
              <c:showSerName val="0"/>
              <c:showPercent val="0"/>
              <c:showBubbleSize val="0"/>
            </c:dLbl>
            <c:dLbl>
              <c:idx val="1"/>
              <c:tx>
                <c:rich>
                  <a:bodyPr/>
                  <a:lstStyle/>
                  <a:p>
                    <a:r>
                      <a:rPr>
                        <a:solidFill>
                          <a:srgbClr val="FFFFFF"/>
                        </a:solidFill>
                      </a:rPr>
                      <a:t>30.5</a:t>
                    </a:r>
                  </a:p>
                </c:rich>
              </c:tx>
              <c:showLegendKey val="0"/>
              <c:showVal val="1"/>
              <c:showCatName val="0"/>
              <c:showSerName val="0"/>
              <c:showPercent val="0"/>
              <c:showBubbleSize val="0"/>
            </c:dLbl>
            <c:dLbl>
              <c:idx val="2"/>
              <c:tx>
                <c:rich>
                  <a:bodyPr/>
                  <a:lstStyle/>
                  <a:p>
                    <a:r>
                      <a:rPr>
                        <a:solidFill>
                          <a:srgbClr val="FFFFFF"/>
                        </a:solidFill>
                      </a:rPr>
                      <a:t>2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0.551633</c:v>
                </c:pt>
                <c:pt idx="1">
                  <c:v>30.512091</c:v>
                </c:pt>
                <c:pt idx="2">
                  <c:v>20.41167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3 Blade</c:v>
                </c:pt>
              </c:strCache>
            </c:strRef>
          </c:tx>
          <c:spPr>
            <a:solidFill>
              <a:srgbClr val="006C6D"/>
            </a:solidFill>
            <a:ln>
              <a:solidFill>
                <a:schemeClr val="bg1"/>
              </a:solidFill>
            </a:ln>
            <a:effectLst/>
          </c:spPr>
          <c:invertIfNegative val="0"/>
          <c:dLbls>
            <c:dLbl>
              <c:idx val="0"/>
              <c:tx>
                <c:rich>
                  <a:bodyPr/>
                  <a:lstStyle/>
                  <a:p>
                    <a:r>
                      <a:rPr>
                        <a:solidFill>
                          <a:srgbClr val="FFFFFF"/>
                        </a:solidFill>
                      </a:rPr>
                      <a:t>25.8</a:t>
                    </a:r>
                  </a:p>
                </c:rich>
              </c:tx>
              <c:showLegendKey val="0"/>
              <c:showVal val="1"/>
              <c:showCatName val="0"/>
              <c:showSerName val="0"/>
              <c:showPercent val="0"/>
              <c:showBubbleSize val="0"/>
            </c:dLbl>
            <c:dLbl>
              <c:idx val="1"/>
              <c:tx>
                <c:rich>
                  <a:bodyPr/>
                  <a:lstStyle/>
                  <a:p>
                    <a:r>
                      <a:rPr>
                        <a:solidFill>
                          <a:srgbClr val="FFFFFF"/>
                        </a:solidFill>
                      </a:rPr>
                      <a:t>26.7</a:t>
                    </a:r>
                  </a:p>
                </c:rich>
              </c:tx>
              <c:showLegendKey val="0"/>
              <c:showVal val="1"/>
              <c:showCatName val="0"/>
              <c:showSerName val="0"/>
              <c:showPercent val="0"/>
              <c:showBubbleSize val="0"/>
            </c:dLbl>
            <c:dLbl>
              <c:idx val="2"/>
              <c:tx>
                <c:rich>
                  <a:bodyPr/>
                  <a:lstStyle/>
                  <a:p>
                    <a:r>
                      <a:rPr>
                        <a:solidFill>
                          <a:srgbClr val="FFFFFF"/>
                        </a:solidFill>
                      </a:rPr>
                      <a:t>1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5.802551</c:v>
                </c:pt>
                <c:pt idx="1">
                  <c:v>26.700773</c:v>
                </c:pt>
                <c:pt idx="2">
                  <c:v>19.8970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4 Blade</c:v>
                </c:pt>
              </c:strCache>
            </c:strRef>
          </c:tx>
          <c:spPr>
            <a:solidFill>
              <a:srgbClr val="00A097"/>
            </a:solidFill>
            <a:ln>
              <a:solidFill>
                <a:schemeClr val="bg1"/>
              </a:solidFill>
            </a:ln>
            <a:effectLst/>
          </c:spPr>
          <c:invertIfNegative val="0"/>
          <c:dLbls>
            <c:dLbl>
              <c:idx val="0"/>
              <c:tx>
                <c:rich>
                  <a:bodyPr/>
                  <a:lstStyle/>
                  <a:p>
                    <a:r>
                      <a:rPr>
                        <a:solidFill>
                          <a:srgbClr val="FFFFFF"/>
                        </a:solidFill>
                      </a:rPr>
                      <a:t>18.6</a:t>
                    </a:r>
                  </a:p>
                </c:rich>
              </c:tx>
              <c:showLegendKey val="0"/>
              <c:showVal val="1"/>
              <c:showCatName val="0"/>
              <c:showSerName val="0"/>
              <c:showPercent val="0"/>
              <c:showBubbleSize val="0"/>
            </c:dLbl>
            <c:dLbl>
              <c:idx val="1"/>
              <c:tx>
                <c:rich>
                  <a:bodyPr/>
                  <a:lstStyle/>
                  <a:p>
                    <a:r>
                      <a:rPr>
                        <a:solidFill>
                          <a:srgbClr val="FFFFFF"/>
                        </a:solidFill>
                      </a:rPr>
                      <a:t>17.1</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8.60771</c:v>
                </c:pt>
                <c:pt idx="1">
                  <c:v>17.141968</c:v>
                </c:pt>
                <c:pt idx="2">
                  <c:v>9.05834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1 Blade</c:v>
                </c:pt>
              </c:strCache>
            </c:strRef>
          </c:tx>
          <c:spPr>
            <a:solidFill>
              <a:srgbClr val="7ECAC4"/>
            </a:solidFill>
            <a:ln>
              <a:solidFill>
                <a:schemeClr val="bg1"/>
              </a:solidFill>
            </a:ln>
            <a:effectLst/>
          </c:spPr>
          <c:invertIfNegative val="0"/>
          <c:dLbls>
            <c:dLbl>
              <c:idx val="0"/>
              <c:tx>
                <c:rich>
                  <a:bodyPr/>
                  <a:lstStyle/>
                  <a:p>
                    <a:r>
                      <a:rPr>
                        <a:solidFill>
                          <a:srgbClr val="FFFFFF"/>
                        </a:solidFill>
                      </a:rPr>
                      <a:t>5.9</a:t>
                    </a:r>
                  </a:p>
                </c:rich>
              </c:tx>
              <c:showLegendKey val="0"/>
              <c:showVal val="1"/>
              <c:showCatName val="0"/>
              <c:showSerName val="0"/>
              <c:showPercent val="0"/>
              <c:showBubbleSize val="0"/>
            </c:dLbl>
            <c:dLbl>
              <c:idx val="1"/>
              <c:tx>
                <c:rich>
                  <a:bodyPr/>
                  <a:lstStyle/>
                  <a:p>
                    <a:r>
                      <a:rPr>
                        <a:solidFill>
                          <a:srgbClr val="FFFFFF"/>
                        </a:solidFill>
                      </a:rPr>
                      <a:t>5.4</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5.92635</c:v>
                </c:pt>
                <c:pt idx="1">
                  <c:v>5.36483</c:v>
                </c:pt>
                <c:pt idx="2">
                  <c:v>3.82965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2 Blade</c:v>
                </c:pt>
              </c:strCache>
            </c:strRef>
          </c:tx>
          <c:spPr>
            <a:solidFill>
              <a:srgbClr val="99C7C5"/>
            </a:solidFill>
            <a:ln>
              <a:solidFill>
                <a:schemeClr val="bg1"/>
              </a:solidFill>
            </a:ln>
            <a:effectLst/>
          </c:spPr>
          <c:invertIfNegative val="0"/>
          <c:dLbls>
            <c:dLbl>
              <c:idx val="0"/>
              <c:tx>
                <c:rich>
                  <a:bodyPr/>
                  <a:lstStyle/>
                  <a:p>
                    <a:r>
                      <a:rPr>
                        <a:solidFill>
                          <a:srgbClr val="FFFFFF"/>
                        </a:solidFill>
                      </a:rPr>
                      <a:t>3.7</a:t>
                    </a:r>
                  </a:p>
                </c:rich>
              </c:tx>
              <c:showLegendKey val="0"/>
              <c:showVal val="1"/>
              <c:showCatName val="0"/>
              <c:showSerName val="0"/>
              <c:showPercent val="0"/>
              <c:showBubbleSize val="0"/>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687103</c:v>
                </c:pt>
                <c:pt idx="1">
                  <c:v>3.677617</c:v>
                </c:pt>
                <c:pt idx="2">
                  <c:v>3.04930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85093</c:v>
                </c:pt>
                <c:pt idx="1">
                  <c:v>0.979913</c:v>
                </c:pt>
                <c:pt idx="2">
                  <c:v>0.47458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6 Blade</c:v>
                </c:pt>
              </c:strCache>
            </c:strRef>
          </c:tx>
          <c:spPr>
            <a:solidFill>
              <a:srgbClr val="B2DFDC"/>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2e-05</c:v>
                </c:pt>
                <c:pt idx="1">
                  <c:v>0.0</c:v>
                </c:pt>
                <c:pt idx="2">
                  <c:v>0.0</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029118</c:v>
                </c:pt>
                <c:pt idx="1">
                  <c:v>4.840927</c:v>
                </c:pt>
                <c:pt idx="2">
                  <c:v>3.98266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4 Blade</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972101</c:v>
                </c:pt>
                <c:pt idx="1">
                  <c:v>2.539613</c:v>
                </c:pt>
                <c:pt idx="2">
                  <c:v>2.05591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2 Blade</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714687</c:v>
                </c:pt>
                <c:pt idx="1">
                  <c:v>0.697651</c:v>
                </c:pt>
                <c:pt idx="2">
                  <c:v>0.47547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3 Blad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495769</c:v>
                </c:pt>
                <c:pt idx="1">
                  <c:v>1.424017</c:v>
                </c:pt>
                <c:pt idx="2">
                  <c:v>0.97391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6 B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306277</c:v>
                </c:pt>
                <c:pt idx="1">
                  <c:v>0.34773</c:v>
                </c:pt>
                <c:pt idx="2">
                  <c:v>0.2204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33562</c:v>
                </c:pt>
                <c:pt idx="1">
                  <c:v>0.474259</c:v>
                </c:pt>
                <c:pt idx="2">
                  <c:v>0.44859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1 Blade</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2879</c:v>
                </c:pt>
                <c:pt idx="1">
                  <c:v>0.015534</c:v>
                </c:pt>
                <c:pt idx="2">
                  <c:v>0.0417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a:solidFill>
                          <a:srgbClr val="FFFFFF"/>
                        </a:solidFill>
                      </a:rPr>
                      <a:t>7.0</a:t>
                    </a:r>
                  </a:p>
                </c:rich>
              </c:tx>
              <c:showLegendKey val="0"/>
              <c:showVal val="1"/>
              <c:showCatName val="0"/>
              <c:showSerName val="0"/>
              <c:showPercent val="0"/>
              <c:showBubbleSize val="0"/>
            </c:dLbl>
            <c:dLbl>
              <c:idx val="1"/>
              <c:tx>
                <c:rich>
                  <a:bodyPr/>
                  <a:lstStyle/>
                  <a:p>
                    <a:r>
                      <a:rPr>
                        <a:solidFill>
                          <a:srgbClr val="FFFFFF"/>
                        </a:solidFill>
                      </a:rPr>
                      <a:t>7.0</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03595</c:v>
                </c:pt>
                <c:pt idx="1">
                  <c:v>7.011146</c:v>
                </c:pt>
                <c:pt idx="2">
                  <c:v>2.0903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840818</c:v>
                </c:pt>
                <c:pt idx="1">
                  <c:v>0.545521</c:v>
                </c:pt>
                <c:pt idx="2">
                  <c:v>0.06251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octer &amp; Gamble</c:v>
                </c:pt>
              </c:strCache>
            </c:strRef>
          </c:tx>
          <c:spPr>
            <a:solidFill>
              <a:srgbClr val="A6A6A6"/>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633375</c:v>
                </c:pt>
                <c:pt idx="1">
                  <c:v>0.795918</c:v>
                </c:pt>
                <c:pt idx="2">
                  <c:v>0.39572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36076</c:v>
                </c:pt>
                <c:pt idx="1">
                  <c:v>0.350034</c:v>
                </c:pt>
                <c:pt idx="2">
                  <c:v>0.23978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60198</c:v>
                </c:pt>
                <c:pt idx="1">
                  <c:v>0.073189</c:v>
                </c:pt>
                <c:pt idx="2">
                  <c:v>0.04129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5 Blade</c:v>
                </c:pt>
              </c:strCache>
            </c:strRef>
          </c:tx>
          <c:spPr>
            <a:solidFill>
              <a:srgbClr val="00504B"/>
            </a:solidFill>
            <a:ln>
              <a:solidFill>
                <a:schemeClr val="bg1"/>
              </a:solidFill>
            </a:ln>
            <a:effectLst/>
          </c:spPr>
          <c:invertIfNegative val="0"/>
          <c:dLbls>
            <c:dLbl>
              <c:idx val="0"/>
              <c:tx>
                <c:rich>
                  <a:bodyPr/>
                  <a:lstStyle/>
                  <a:p>
                    <a:r>
                      <a:rPr>
                        <a:solidFill>
                          <a:srgbClr val="FFFFFF"/>
                        </a:solidFill>
                      </a:rPr>
                      <a:t>12.4</a:t>
                    </a:r>
                  </a:p>
                </c:rich>
              </c:tx>
              <c:showLegendKey val="0"/>
              <c:showVal val="1"/>
              <c:showCatName val="0"/>
              <c:showSerName val="0"/>
              <c:showPercent val="0"/>
              <c:showBubbleSize val="0"/>
            </c:dLbl>
            <c:dLbl>
              <c:idx val="1"/>
              <c:tx>
                <c:rich>
                  <a:bodyPr/>
                  <a:lstStyle/>
                  <a:p>
                    <a:r>
                      <a:rPr>
                        <a:solidFill>
                          <a:srgbClr val="FFFFFF"/>
                        </a:solidFill>
                      </a:rPr>
                      <a:t>14.3</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2.381328</c:v>
                </c:pt>
                <c:pt idx="1">
                  <c:v>14.329698</c:v>
                </c:pt>
                <c:pt idx="2">
                  <c:v>11.7077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4 Blade</c:v>
                </c:pt>
              </c:strCache>
            </c:strRef>
          </c:tx>
          <c:spPr>
            <a:solidFill>
              <a:srgbClr val="006C6D"/>
            </a:solidFill>
            <a:ln>
              <a:solidFill>
                <a:schemeClr val="bg1"/>
              </a:solidFill>
            </a:ln>
            <a:effectLst/>
          </c:spPr>
          <c:invertIfNegative val="0"/>
          <c:dLbls>
            <c:dLbl>
              <c:idx val="0"/>
              <c:tx>
                <c:rich>
                  <a:bodyPr/>
                  <a:lstStyle/>
                  <a:p>
                    <a:r>
                      <a:rPr>
                        <a:solidFill>
                          <a:srgbClr val="FFFFFF"/>
                        </a:solidFill>
                      </a:rPr>
                      <a:t>5.2</a:t>
                    </a:r>
                  </a:p>
                </c:rich>
              </c:tx>
              <c:showLegendKey val="0"/>
              <c:showVal val="1"/>
              <c:showCatName val="0"/>
              <c:showSerName val="0"/>
              <c:showPercent val="0"/>
              <c:showBubbleSize val="0"/>
            </c:dLbl>
            <c:dLbl>
              <c:idx val="1"/>
              <c:tx>
                <c:rich>
                  <a:bodyPr/>
                  <a:lstStyle/>
                  <a:p>
                    <a:r>
                      <a:rPr>
                        <a:solidFill>
                          <a:srgbClr val="FFFFFF"/>
                        </a:solidFill>
                      </a:rPr>
                      <a:t>6.0</a:t>
                    </a:r>
                  </a:p>
                </c:rich>
              </c:tx>
              <c:showLegendKey val="0"/>
              <c:showVal val="1"/>
              <c:showCatName val="0"/>
              <c:showSerName val="0"/>
              <c:showPercent val="0"/>
              <c:showBubbleSize val="0"/>
            </c:dLbl>
            <c:dLbl>
              <c:idx val="2"/>
              <c:tx>
                <c:rich>
                  <a:bodyPr/>
                  <a:lstStyle/>
                  <a:p>
                    <a:r>
                      <a:rPr>
                        <a:solidFill>
                          <a:srgbClr val="FFFFFF"/>
                        </a:solidFill>
                      </a:rPr>
                      <a:t>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247116</c:v>
                </c:pt>
                <c:pt idx="1">
                  <c:v>5.986397</c:v>
                </c:pt>
                <c:pt idx="2">
                  <c:v>4.7177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2 Blade</c:v>
                </c:pt>
              </c:strCache>
            </c:strRef>
          </c:tx>
          <c:spPr>
            <a:solidFill>
              <a:srgbClr val="00A097"/>
            </a:solidFill>
            <a:ln>
              <a:solidFill>
                <a:schemeClr val="bg1"/>
              </a:solidFill>
            </a:ln>
            <a:effectLst/>
          </c:spPr>
          <c:invertIfNegative val="0"/>
          <c:dLbls>
            <c:dLbl>
              <c:idx val="0"/>
              <c:tx>
                <c:rich>
                  <a:bodyPr/>
                  <a:lstStyle/>
                  <a:p>
                    <a:r>
                      <a:rPr>
                        <a:solidFill>
                          <a:srgbClr val="FFFFFF"/>
                        </a:solidFill>
                      </a:rPr>
                      <a:t>2.9</a:t>
                    </a:r>
                  </a:p>
                </c:rich>
              </c:tx>
              <c:showLegendKey val="0"/>
              <c:showVal val="1"/>
              <c:showCatName val="0"/>
              <c:showSerName val="0"/>
              <c:showPercent val="0"/>
              <c:showBubbleSize val="0"/>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904299</c:v>
                </c:pt>
                <c:pt idx="1">
                  <c:v>2.322686</c:v>
                </c:pt>
                <c:pt idx="2">
                  <c:v>1.30092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3 Blade</c:v>
                </c:pt>
              </c:strCache>
            </c:strRef>
          </c:tx>
          <c:spPr>
            <a:solidFill>
              <a:srgbClr val="7ECAC4"/>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537144</c:v>
                </c:pt>
                <c:pt idx="1">
                  <c:v>2.651255</c:v>
                </c:pt>
                <c:pt idx="2">
                  <c:v>1.71856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6 Blade</c:v>
                </c:pt>
              </c:strCache>
            </c:strRef>
          </c:tx>
          <c:spPr>
            <a:solidFill>
              <a:srgbClr val="99C7C5"/>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789356</c:v>
                </c:pt>
                <c:pt idx="1">
                  <c:v>0.756512</c:v>
                </c:pt>
                <c:pt idx="2">
                  <c:v>0.366842</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Rem Blades</c:v>
                </c:pt>
              </c:strCache>
            </c:strRef>
          </c:tx>
          <c:spPr>
            <a:solidFill>
              <a:srgbClr val="B2DFDC"/>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769461</c:v>
                </c:pt>
                <c:pt idx="1">
                  <c:v>1.160659</c:v>
                </c:pt>
                <c:pt idx="2">
                  <c:v>1.3805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1 Blade</c:v>
                </c:pt>
              </c:strCache>
            </c:strRef>
          </c:tx>
          <c:spPr>
            <a:solidFill>
              <a:srgbClr val="B2DFDC"/>
            </a:solidFill>
            <a:ln>
              <a:solidFill>
                <a:schemeClr val="bg1"/>
              </a:solidFill>
            </a:ln>
            <a:effectLst/>
          </c:spPr>
          <c:invertIfNegative val="0"/>
          <c:dLbls>
            <c:dLbl>
              <c:idx val="0"/>
              <c:tx>
                <c:rich>
                  <a:bodyPr/>
                  <a:lstStyle/>
                  <a:p>
                    <a:r>
                      <a:rPr>
                        <a:solidFill>
                          <a:srgbClr val="FFFFFF"/>
                        </a:solidFill>
                      </a:rPr>
                      <a:t>0.1</a:t>
                    </a:r>
                  </a:p>
                </c:rich>
              </c:tx>
              <c:showLegendKey val="0"/>
              <c:showVal val="1"/>
              <c:showCatName val="0"/>
              <c:showSerName val="0"/>
              <c:showPercent val="0"/>
              <c:showBubbleSize val="0"/>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77101</c:v>
                </c:pt>
                <c:pt idx="1">
                  <c:v>0.050811</c:v>
                </c:pt>
                <c:pt idx="2">
                  <c:v>0.10134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16.0</a:t>
                    </a:r>
                  </a:p>
                </c:rich>
              </c:tx>
              <c:showLegendKey val="0"/>
              <c:showVal val="1"/>
              <c:showCatName val="0"/>
              <c:showSerName val="0"/>
              <c:showPercent val="0"/>
              <c:showBubbleSize val="0"/>
            </c:dLbl>
            <c:dLbl>
              <c:idx val="2"/>
              <c:tx>
                <c:rich>
                  <a:bodyPr/>
                  <a:lstStyle/>
                  <a:p>
                    <a:r>
                      <a:rPr>
                        <a:solidFill>
                          <a:srgbClr val="FFFFFF"/>
                        </a:solidFill>
                      </a:rPr>
                      <a:t>29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24.239873</c:v>
                </c:pt>
                <c:pt idx="1">
                  <c:v>415.985714</c:v>
                </c:pt>
                <c:pt idx="2">
                  <c:v>297.6425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4.1</a:t>
                    </a:r>
                  </a:p>
                </c:rich>
              </c:tx>
              <c:showLegendKey val="0"/>
              <c:showVal val="1"/>
              <c:showCatName val="0"/>
              <c:showSerName val="0"/>
              <c:showPercent val="0"/>
              <c:showBubbleSize val="0"/>
            </c:dLbl>
            <c:dLbl>
              <c:idx val="2"/>
              <c:tx>
                <c:rich>
                  <a:bodyPr/>
                  <a:lstStyle/>
                  <a:p>
                    <a:r>
                      <a:rPr>
                        <a:solidFill>
                          <a:srgbClr val="FFFFFF"/>
                        </a:solidFill>
                      </a:rPr>
                      <a:t>8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35.467632</c:v>
                </c:pt>
                <c:pt idx="1">
                  <c:v>124.088258</c:v>
                </c:pt>
                <c:pt idx="2">
                  <c:v>80.56898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1</a:t>
                    </a:r>
                  </a:p>
                </c:rich>
              </c:tx>
              <c:showLegendKey val="0"/>
              <c:showVal val="1"/>
              <c:showCatName val="0"/>
              <c:showSerName val="0"/>
              <c:showPercent val="0"/>
              <c:showBubbleSize val="0"/>
            </c:dLbl>
            <c:dLbl>
              <c:idx val="2"/>
              <c:tx>
                <c:rich>
                  <a:bodyPr/>
                  <a:lstStyle/>
                  <a:p>
                    <a:r>
                      <a:rPr>
                        <a:solidFill>
                          <a:srgbClr val="FFFFFF"/>
                        </a:solidFill>
                      </a:rPr>
                      <a:t>3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6.931322</c:v>
                </c:pt>
                <c:pt idx="1">
                  <c:v>50.09088</c:v>
                </c:pt>
                <c:pt idx="2">
                  <c:v>32.9203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948595</c:v>
                </c:pt>
                <c:pt idx="1">
                  <c:v>5.0469</c:v>
                </c:pt>
                <c:pt idx="2">
                  <c:v>2.80259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a:solidFill>
                          <a:srgbClr val="FFFFFF"/>
                        </a:solidFill>
                      </a:rPr>
                      <a:t>734.3</a:t>
                    </a:r>
                  </a:p>
                </c:rich>
              </c:tx>
              <c:showLegendKey val="0"/>
              <c:showVal val="1"/>
              <c:showCatName val="0"/>
              <c:showSerName val="0"/>
              <c:showPercent val="0"/>
              <c:showBubbleSize val="0"/>
            </c:dLbl>
            <c:dLbl>
              <c:idx val="1"/>
              <c:tx>
                <c:rich>
                  <a:bodyPr/>
                  <a:lstStyle/>
                  <a:p>
                    <a:r>
                      <a:rPr>
                        <a:solidFill>
                          <a:srgbClr val="FFFFFF"/>
                        </a:solidFill>
                      </a:rPr>
                      <a:t>754.1</a:t>
                    </a:r>
                  </a:p>
                </c:rich>
              </c:tx>
              <c:showLegendKey val="0"/>
              <c:showVal val="1"/>
              <c:showCatName val="0"/>
              <c:showSerName val="0"/>
              <c:showPercent val="0"/>
              <c:showBubbleSize val="0"/>
            </c:dLbl>
            <c:dLbl>
              <c:idx val="2"/>
              <c:tx>
                <c:rich>
                  <a:bodyPr/>
                  <a:lstStyle/>
                  <a:p>
                    <a:r>
                      <a:rPr>
                        <a:solidFill>
                          <a:srgbClr val="FFFFFF"/>
                        </a:solidFill>
                      </a:rPr>
                      <a:t>53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734.272529</c:v>
                </c:pt>
                <c:pt idx="1">
                  <c:v>754.146048</c:v>
                </c:pt>
                <c:pt idx="2">
                  <c:v>536.98991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a:solidFill>
                          <a:srgbClr val="FFFFFF"/>
                        </a:solidFill>
                      </a:rPr>
                      <a:t>307.3</a:t>
                    </a:r>
                  </a:p>
                </c:rich>
              </c:tx>
              <c:showLegendKey val="0"/>
              <c:showVal val="1"/>
              <c:showCatName val="0"/>
              <c:showSerName val="0"/>
              <c:showPercent val="0"/>
              <c:showBubbleSize val="0"/>
            </c:dLbl>
            <c:dLbl>
              <c:idx val="1"/>
              <c:tx>
                <c:rich>
                  <a:bodyPr/>
                  <a:lstStyle/>
                  <a:p>
                    <a:r>
                      <a:rPr>
                        <a:solidFill>
                          <a:srgbClr val="FFFFFF"/>
                        </a:solidFill>
                      </a:rPr>
                      <a:t>309.3</a:t>
                    </a:r>
                  </a:p>
                </c:rich>
              </c:tx>
              <c:showLegendKey val="0"/>
              <c:showVal val="1"/>
              <c:showCatName val="0"/>
              <c:showSerName val="0"/>
              <c:showPercent val="0"/>
              <c:showBubbleSize val="0"/>
            </c:dLbl>
            <c:dLbl>
              <c:idx val="2"/>
              <c:tx>
                <c:rich>
                  <a:bodyPr/>
                  <a:lstStyle/>
                  <a:p>
                    <a:r>
                      <a:rPr>
                        <a:solidFill>
                          <a:srgbClr val="FFFFFF"/>
                        </a:solidFill>
                      </a:rPr>
                      <a:t>20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07.308603</c:v>
                </c:pt>
                <c:pt idx="1">
                  <c:v>309.304366</c:v>
                </c:pt>
                <c:pt idx="2">
                  <c:v>209.3331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a:solidFill>
                          <a:srgbClr val="FFFFFF"/>
                        </a:solidFill>
                      </a:rPr>
                      <a:t>100.9</a:t>
                    </a:r>
                  </a:p>
                </c:rich>
              </c:tx>
              <c:showLegendKey val="0"/>
              <c:showVal val="1"/>
              <c:showCatName val="0"/>
              <c:showSerName val="0"/>
              <c:showPercent val="0"/>
              <c:showBubbleSize val="0"/>
            </c:dLbl>
            <c:dLbl>
              <c:idx val="1"/>
              <c:tx>
                <c:rich>
                  <a:bodyPr/>
                  <a:lstStyle/>
                  <a:p>
                    <a:r>
                      <a:rPr>
                        <a:solidFill>
                          <a:srgbClr val="FFFFFF"/>
                        </a:solidFill>
                      </a:rPr>
                      <a:t>116.8</a:t>
                    </a:r>
                  </a:p>
                </c:rich>
              </c:tx>
              <c:showLegendKey val="0"/>
              <c:showVal val="1"/>
              <c:showCatName val="0"/>
              <c:showSerName val="0"/>
              <c:showPercent val="0"/>
              <c:showBubbleSize val="0"/>
            </c:dLbl>
            <c:dLbl>
              <c:idx val="2"/>
              <c:tx>
                <c:rich>
                  <a:bodyPr/>
                  <a:lstStyle/>
                  <a:p>
                    <a:r>
                      <a:rPr>
                        <a:solidFill>
                          <a:srgbClr val="FFFFFF"/>
                        </a:solidFill>
                      </a:rPr>
                      <a:t>7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0.913623</c:v>
                </c:pt>
                <c:pt idx="1">
                  <c:v>116.750039</c:v>
                </c:pt>
                <c:pt idx="2">
                  <c:v>76.99913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0.853506</c:v>
                </c:pt>
                <c:pt idx="1">
                  <c:v>23.833342</c:v>
                </c:pt>
                <c:pt idx="2">
                  <c:v>13.1914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4</a:t>
                    </a:r>
                  </a:p>
                </c:rich>
              </c:tx>
              <c:showLegendKey val="0"/>
              <c:showVal val="1"/>
              <c:showCatName val="0"/>
              <c:showSerName val="0"/>
              <c:showPercent val="0"/>
              <c:showBubbleSize val="0"/>
            </c:dLbl>
            <c:dLbl>
              <c:idx val="2"/>
              <c:tx>
                <c:rich>
                  <a:bodyPr/>
                  <a:lstStyle/>
                  <a:p>
                    <a:r>
                      <a:rPr>
                        <a:solidFill>
                          <a:srgbClr val="FFFFFF"/>
                        </a:solidFill>
                      </a:rPr>
                      <a:t>2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2.824594</c:v>
                </c:pt>
                <c:pt idx="1">
                  <c:v>25.364653</c:v>
                </c:pt>
                <c:pt idx="2">
                  <c:v>21.25692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675668</c:v>
                </c:pt>
                <c:pt idx="1">
                  <c:v>5.288015</c:v>
                </c:pt>
                <c:pt idx="2">
                  <c:v>4.40638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9941</c:v>
                </c:pt>
                <c:pt idx="1">
                  <c:v>5.468265</c:v>
                </c:pt>
                <c:pt idx="2">
                  <c:v>3.7612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27693</c:v>
                </c:pt>
                <c:pt idx="1">
                  <c:v>0.153487</c:v>
                </c:pt>
                <c:pt idx="2">
                  <c:v>0.1337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3</a:t>
                    </a:r>
                  </a:p>
                </c:rich>
              </c:tx>
              <c:showLegendKey val="0"/>
              <c:showVal val="1"/>
              <c:showCatName val="0"/>
              <c:showSerName val="0"/>
              <c:showPercent val="0"/>
              <c:showBubbleSize val="0"/>
            </c:dLbl>
            <c:dLbl>
              <c:idx val="2"/>
              <c:tx>
                <c:rich>
                  <a:bodyPr/>
                  <a:lstStyle/>
                  <a:p>
                    <a:r>
                      <a:rPr>
                        <a:solidFill>
                          <a:srgbClr val="FFFFFF"/>
                        </a:solidFill>
                      </a:rPr>
                      <a:t>2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4.577204</c:v>
                </c:pt>
                <c:pt idx="1">
                  <c:v>35.26761</c:v>
                </c:pt>
                <c:pt idx="2">
                  <c:v>27.7040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9</a:t>
                    </a:r>
                  </a:p>
                </c:rich>
              </c:tx>
              <c:showLegendKey val="0"/>
              <c:showVal val="1"/>
              <c:showCatName val="0"/>
              <c:showSerName val="0"/>
              <c:showPercent val="0"/>
              <c:showBubbleSize val="0"/>
            </c:dLbl>
            <c:dLbl>
              <c:idx val="2"/>
              <c:tx>
                <c:rich>
                  <a:bodyPr/>
                  <a:lstStyle/>
                  <a:p>
                    <a:r>
                      <a:rPr>
                        <a:solidFill>
                          <a:srgbClr val="FFFFFF"/>
                        </a:solidFill>
                      </a:rPr>
                      <a:t>1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5.976244</c:v>
                </c:pt>
                <c:pt idx="1">
                  <c:v>24.915118</c:v>
                </c:pt>
                <c:pt idx="2">
                  <c:v>15.1328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4</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820576</c:v>
                </c:pt>
                <c:pt idx="1">
                  <c:v>6.443775</c:v>
                </c:pt>
                <c:pt idx="2">
                  <c:v>4.12625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003248</c:v>
                </c:pt>
                <c:pt idx="1">
                  <c:v>1.775361</c:v>
                </c:pt>
                <c:pt idx="2">
                  <c:v>1.23671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3.335703</c:v>
                </c:pt>
                <c:pt idx="1">
                  <c:v>4.221777</c:v>
                </c:pt>
                <c:pt idx="2">
                  <c:v>3.04184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1.068307</c:v>
                </c:pt>
                <c:pt idx="1">
                  <c:v>2.630158</c:v>
                </c:pt>
                <c:pt idx="2">
                  <c:v>2.1337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a:solidFill>
                          <a:srgbClr val="FFFFFF"/>
                        </a:solidFill>
                      </a:rPr>
                      <a:t>47.5</a:t>
                    </a:r>
                  </a:p>
                </c:rich>
              </c:tx>
              <c:showLegendKey val="0"/>
              <c:showVal val="1"/>
              <c:showCatName val="0"/>
              <c:showSerName val="0"/>
              <c:showPercent val="0"/>
              <c:showBubbleSize val="0"/>
            </c:dLbl>
            <c:dLbl>
              <c:idx val="1"/>
              <c:tx>
                <c:rich>
                  <a:bodyPr/>
                  <a:lstStyle/>
                  <a:p>
                    <a:r>
                      <a:rPr>
                        <a:solidFill>
                          <a:srgbClr val="FFFFFF"/>
                        </a:solidFill>
                      </a:rPr>
                      <a:t>55.3</a:t>
                    </a:r>
                  </a:p>
                </c:rich>
              </c:tx>
              <c:showLegendKey val="0"/>
              <c:showVal val="1"/>
              <c:showCatName val="0"/>
              <c:showSerName val="0"/>
              <c:showPercent val="0"/>
              <c:showBubbleSize val="0"/>
            </c:dLbl>
            <c:dLbl>
              <c:idx val="2"/>
              <c:tx>
                <c:rich>
                  <a:bodyPr/>
                  <a:lstStyle/>
                  <a:p>
                    <a:r>
                      <a:rPr>
                        <a:solidFill>
                          <a:srgbClr val="FFFFFF"/>
                        </a:solidFill>
                      </a:rPr>
                      <a:t>4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47.516134</c:v>
                </c:pt>
                <c:pt idx="1">
                  <c:v>55.322453</c:v>
                </c:pt>
                <c:pt idx="2">
                  <c:v>45.3013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a:solidFill>
                          <a:srgbClr val="FFFFFF"/>
                        </a:solidFill>
                      </a:rPr>
                      <a:t>11.8</a:t>
                    </a:r>
                  </a:p>
                </c:rich>
              </c:tx>
              <c:showLegendKey val="0"/>
              <c:showVal val="1"/>
              <c:showCatName val="0"/>
              <c:showSerName val="0"/>
              <c:showPercent val="0"/>
              <c:showBubbleSize val="0"/>
            </c:dLbl>
            <c:dLbl>
              <c:idx val="1"/>
              <c:tx>
                <c:rich>
                  <a:bodyPr/>
                  <a:lstStyle/>
                  <a:p>
                    <a:r>
                      <a:rPr>
                        <a:solidFill>
                          <a:srgbClr val="FFFFFF"/>
                        </a:solidFill>
                      </a:rPr>
                      <a:t>13.5</a:t>
                    </a:r>
                  </a:p>
                </c:rich>
              </c:tx>
              <c:showLegendKey val="0"/>
              <c:showVal val="1"/>
              <c:showCatName val="0"/>
              <c:showSerName val="0"/>
              <c:showPercent val="0"/>
              <c:showBubbleSize val="0"/>
            </c:dLbl>
            <c:dLbl>
              <c:idx val="2"/>
              <c:tx>
                <c:rich>
                  <a:bodyPr/>
                  <a:lstStyle/>
                  <a:p>
                    <a:r>
                      <a:rPr>
                        <a:solidFill>
                          <a:srgbClr val="FFFFFF"/>
                        </a:solidFill>
                      </a:rPr>
                      <a:t>1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764475</c:v>
                </c:pt>
                <c:pt idx="1">
                  <c:v>13.453919</c:v>
                </c:pt>
                <c:pt idx="2">
                  <c:v>10.890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a:solidFill>
                          <a:srgbClr val="FFFFFF"/>
                        </a:solidFill>
                      </a:rPr>
                      <a:t>10.1</a:t>
                    </a:r>
                  </a:p>
                </c:rich>
              </c:tx>
              <c:showLegendKey val="0"/>
              <c:showVal val="1"/>
              <c:showCatName val="0"/>
              <c:showSerName val="0"/>
              <c:showPercent val="0"/>
              <c:showBubbleSize val="0"/>
            </c:dLbl>
            <c:dLbl>
              <c:idx val="1"/>
              <c:tx>
                <c:rich>
                  <a:bodyPr/>
                  <a:lstStyle/>
                  <a:p>
                    <a:r>
                      <a:rPr>
                        <a:solidFill>
                          <a:srgbClr val="FFFFFF"/>
                        </a:solidFill>
                      </a:rPr>
                      <a:t>11.1</a:t>
                    </a:r>
                  </a:p>
                </c:rich>
              </c:tx>
              <c:showLegendKey val="0"/>
              <c:showVal val="1"/>
              <c:showCatName val="0"/>
              <c:showSerName val="0"/>
              <c:showPercent val="0"/>
              <c:showBubbleSize val="0"/>
            </c:dLbl>
            <c:dLbl>
              <c:idx val="2"/>
              <c:tx>
                <c:rich>
                  <a:bodyPr/>
                  <a:lstStyle/>
                  <a:p>
                    <a:r>
                      <a:rPr>
                        <a:solidFill>
                          <a:srgbClr val="FFFFFF"/>
                        </a:solidFill>
                      </a:rPr>
                      <a:t>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0.091158</c:v>
                </c:pt>
                <c:pt idx="1">
                  <c:v>11.08737</c:v>
                </c:pt>
                <c:pt idx="2">
                  <c:v>7.43077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816543</c:v>
                </c:pt>
                <c:pt idx="1">
                  <c:v>0.6195</c:v>
                </c:pt>
                <c:pt idx="2">
                  <c:v>0.49526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0</a:t>
                    </a:r>
                  </a:p>
                </c:rich>
              </c:tx>
              <c:showLegendKey val="0"/>
              <c:showVal val="1"/>
              <c:showCatName val="0"/>
              <c:showSerName val="0"/>
              <c:showPercent val="0"/>
              <c:showBubbleSize val="0"/>
            </c:dLbl>
            <c:dLbl>
              <c:idx val="2"/>
              <c:tx>
                <c:rich>
                  <a:bodyPr/>
                  <a:lstStyle/>
                  <a:p>
                    <a:r>
                      <a:rPr>
                        <a:solidFill>
                          <a:srgbClr val="FFFFFF"/>
                        </a:solidFill>
                      </a:rPr>
                      <a:t>1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25.146206</c:v>
                </c:pt>
                <c:pt idx="1">
                  <c:v>24.043739</c:v>
                </c:pt>
                <c:pt idx="2">
                  <c:v>16.47122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5.492268</c:v>
                </c:pt>
                <c:pt idx="1">
                  <c:v>4.658603</c:v>
                </c:pt>
                <c:pt idx="2">
                  <c:v>2.98648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582207</c:v>
                </c:pt>
                <c:pt idx="1">
                  <c:v>2.659056</c:v>
                </c:pt>
                <c:pt idx="2">
                  <c:v>1.57055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50477</c:v>
                </c:pt>
                <c:pt idx="1">
                  <c:v>0.203444</c:v>
                </c:pt>
                <c:pt idx="2">
                  <c:v>0.110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a:solidFill>
                          <a:srgbClr val="FFFFFF"/>
                        </a:solidFill>
                      </a:rPr>
                      <a:t>32.2</a:t>
                    </a:r>
                  </a:p>
                </c:rich>
              </c:tx>
              <c:showLegendKey val="0"/>
              <c:showVal val="1"/>
              <c:showCatName val="0"/>
              <c:showSerName val="0"/>
              <c:showPercent val="0"/>
              <c:showBubbleSize val="0"/>
            </c:dLbl>
            <c:dLbl>
              <c:idx val="1"/>
              <c:tx>
                <c:rich>
                  <a:bodyPr/>
                  <a:lstStyle/>
                  <a:p>
                    <a:r>
                      <a:rPr>
                        <a:solidFill>
                          <a:srgbClr val="FFFFFF"/>
                        </a:solidFill>
                      </a:rPr>
                      <a:t>31.3</a:t>
                    </a:r>
                  </a:p>
                </c:rich>
              </c:tx>
              <c:showLegendKey val="0"/>
              <c:showVal val="1"/>
              <c:showCatName val="0"/>
              <c:showSerName val="0"/>
              <c:showPercent val="0"/>
              <c:showBubbleSize val="0"/>
            </c:dLbl>
            <c:dLbl>
              <c:idx val="2"/>
              <c:tx>
                <c:rich>
                  <a:bodyPr/>
                  <a:lstStyle/>
                  <a:p>
                    <a:r>
                      <a:rPr>
                        <a:solidFill>
                          <a:srgbClr val="FFFFFF"/>
                        </a:solidFill>
                      </a:rPr>
                      <a:t>2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2.220331</c:v>
                </c:pt>
                <c:pt idx="1">
                  <c:v>31.271932</c:v>
                </c:pt>
                <c:pt idx="2">
                  <c:v>21.22946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a:solidFill>
                          <a:srgbClr val="FFFFFF"/>
                        </a:solidFill>
                      </a:rPr>
                      <a:t>12.0</a:t>
                    </a:r>
                  </a:p>
                </c:rich>
              </c:tx>
              <c:showLegendKey val="0"/>
              <c:showVal val="1"/>
              <c:showCatName val="0"/>
              <c:showSerName val="0"/>
              <c:showPercent val="0"/>
              <c:showBubbleSize val="0"/>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2.000407</c:v>
                </c:pt>
                <c:pt idx="1">
                  <c:v>11.294484</c:v>
                </c:pt>
                <c:pt idx="2">
                  <c:v>7.25065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5.0</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546757</c:v>
                </c:pt>
                <c:pt idx="1">
                  <c:v>4.984312</c:v>
                </c:pt>
                <c:pt idx="2">
                  <c:v>2.76428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a:solidFill>
                          <a:srgbClr val="FFFFFF"/>
                        </a:solidFill>
                      </a:rPr>
                      <a:t>1.1</a:t>
                    </a:r>
                  </a:p>
                </c:rich>
              </c:tx>
              <c:showLegendKey val="0"/>
              <c:showVal val="1"/>
              <c:showCatName val="0"/>
              <c:showSerName val="0"/>
              <c:showPercent val="0"/>
              <c:showBubbleSize val="0"/>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1.077428</c:v>
                </c:pt>
                <c:pt idx="1">
                  <c:v>0.942207</c:v>
                </c:pt>
                <c:pt idx="2">
                  <c:v>0.5120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9.32727</c:v>
                </c:pt>
                <c:pt idx="1">
                  <c:v>9.263014</c:v>
                </c:pt>
                <c:pt idx="2">
                  <c:v>6.3583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099819</c:v>
                </c:pt>
                <c:pt idx="1">
                  <c:v>1.834802</c:v>
                </c:pt>
                <c:pt idx="2">
                  <c:v>1.2403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86722</c:v>
                </c:pt>
                <c:pt idx="1">
                  <c:v>1.006717</c:v>
                </c:pt>
                <c:pt idx="2">
                  <c:v>0.6496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6104</c:v>
                </c:pt>
                <c:pt idx="1">
                  <c:v>0.071501</c:v>
                </c:pt>
                <c:pt idx="2">
                  <c:v>0.03910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Normal Skin</c:v>
                </c:pt>
              </c:strCache>
            </c:strRef>
          </c:tx>
          <c:spPr>
            <a:solidFill>
              <a:srgbClr val="00504B"/>
            </a:solidFill>
            <a:ln>
              <a:solidFill>
                <a:schemeClr val="bg1"/>
              </a:solidFill>
            </a:ln>
            <a:effectLst/>
          </c:spPr>
          <c:invertIfNegative val="0"/>
          <c:dLbls>
            <c:dLbl>
              <c:idx val="0"/>
              <c:tx>
                <c:rich>
                  <a:bodyPr/>
                  <a:lstStyle/>
                  <a:p>
                    <a:r>
                      <a:rPr>
                        <a:solidFill>
                          <a:srgbClr val="FFFFFF"/>
                        </a:solidFill>
                      </a:rPr>
                      <a:t>10.8</a:t>
                    </a:r>
                  </a:p>
                </c:rich>
              </c:tx>
              <c:showLegendKey val="0"/>
              <c:showVal val="1"/>
              <c:showCatName val="0"/>
              <c:showSerName val="0"/>
              <c:showPercent val="0"/>
              <c:showBubbleSize val="0"/>
            </c:dLbl>
            <c:dLbl>
              <c:idx val="1"/>
              <c:tx>
                <c:rich>
                  <a:bodyPr/>
                  <a:lstStyle/>
                  <a:p>
                    <a:r>
                      <a:rPr>
                        <a:solidFill>
                          <a:srgbClr val="FFFFFF"/>
                        </a:solidFill>
                      </a:rPr>
                      <a:t>11.0</a:t>
                    </a:r>
                  </a:p>
                </c:rich>
              </c:tx>
              <c:showLegendKey val="0"/>
              <c:showVal val="1"/>
              <c:showCatName val="0"/>
              <c:showSerName val="0"/>
              <c:showPercent val="0"/>
              <c:showBubbleSize val="0"/>
            </c:dLbl>
            <c:dLbl>
              <c:idx val="2"/>
              <c:tx>
                <c:rich>
                  <a:bodyPr/>
                  <a:lstStyle/>
                  <a:p>
                    <a:r>
                      <a:rPr>
                        <a:solidFill>
                          <a:srgbClr val="FFFFFF"/>
                        </a:solidFill>
                      </a:rPr>
                      <a:t>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0.813012</c:v>
                </c:pt>
                <c:pt idx="1">
                  <c:v>11.022162</c:v>
                </c:pt>
                <c:pt idx="2">
                  <c:v>7.67751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ensitive Skin</c:v>
                </c:pt>
              </c:strCache>
            </c:strRef>
          </c:tx>
          <c:spPr>
            <a:solidFill>
              <a:srgbClr val="006C6D"/>
            </a:solidFill>
            <a:ln>
              <a:solidFill>
                <a:schemeClr val="bg1"/>
              </a:solidFill>
            </a:ln>
            <a:effectLst/>
          </c:spPr>
          <c:invertIfNegative val="0"/>
          <c:dLbls>
            <c:dLbl>
              <c:idx val="0"/>
              <c:tx>
                <c:rich>
                  <a:bodyPr/>
                  <a:lstStyle/>
                  <a:p>
                    <a:r>
                      <a:rPr>
                        <a:solidFill>
                          <a:srgbClr val="FFFFFF"/>
                        </a:solidFill>
                      </a:rPr>
                      <a:t>4.4</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39906</c:v>
                </c:pt>
                <c:pt idx="1">
                  <c:v>4.14088</c:v>
                </c:pt>
                <c:pt idx="2">
                  <c:v>2.8103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Rem Types</c:v>
                </c:pt>
              </c:strCache>
            </c:strRef>
          </c:tx>
          <c:spPr>
            <a:solidFill>
              <a:srgbClr val="00A097"/>
            </a:solidFill>
            <a:ln>
              <a:solidFill>
                <a:schemeClr val="bg1"/>
              </a:solidFill>
            </a:ln>
            <a:effectLst/>
          </c:spPr>
          <c:invertIfNegative val="0"/>
          <c:dLbls>
            <c:dLbl>
              <c:idx val="0"/>
              <c:tx>
                <c:rich>
                  <a:bodyPr/>
                  <a:lstStyle/>
                  <a:p>
                    <a:r>
                      <a:rPr>
                        <a:solidFill>
                          <a:srgbClr val="FFFFFF"/>
                        </a:solidFill>
                      </a:rPr>
                      <a:t>1.5</a:t>
                    </a:r>
                  </a:p>
                </c:rich>
              </c:tx>
              <c:showLegendKey val="0"/>
              <c:showVal val="1"/>
              <c:showCatName val="0"/>
              <c:showSerName val="0"/>
              <c:showPercent val="0"/>
              <c:showBubbleSize val="0"/>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532389</c:v>
                </c:pt>
                <c:pt idx="1">
                  <c:v>1.788627</c:v>
                </c:pt>
                <c:pt idx="2">
                  <c:v>1.10177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Dry Skin</c:v>
                </c:pt>
              </c:strCache>
            </c:strRef>
          </c:tx>
          <c:spPr>
            <a:solidFill>
              <a:srgbClr val="7ECAC4"/>
            </a:solidFill>
            <a:ln>
              <a:solidFill>
                <a:schemeClr val="bg1"/>
              </a:solidFill>
            </a:ln>
            <a:effectLst/>
          </c:spPr>
          <c:invertIfNegative val="0"/>
          <c:dLbls>
            <c:dLbl>
              <c:idx val="0"/>
              <c:tx>
                <c:rich>
                  <a:bodyPr/>
                  <a:lstStyle/>
                  <a:p>
                    <a:r>
                      <a:rPr>
                        <a:solidFill>
                          <a:srgbClr val="FFFFFF"/>
                        </a:solidFill>
                      </a:rPr>
                      <a:t>0.4</a:t>
                    </a:r>
                  </a:p>
                </c:rich>
              </c:tx>
              <c:showLegendKey val="0"/>
              <c:showVal val="1"/>
              <c:showCatName val="0"/>
              <c:showSerName val="0"/>
              <c:showPercent val="0"/>
              <c:showBubbleSize val="0"/>
            </c:dLbl>
            <c:dLbl>
              <c:idx val="1"/>
              <c:tx>
                <c:rich>
                  <a:bodyPr/>
                  <a:lstStyle/>
                  <a:p>
                    <a:r>
                      <a:rPr>
                        <a:solidFill>
                          <a:srgbClr val="FFFFFF"/>
                        </a:solidFill>
                      </a:rPr>
                      <a:t>0.3</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356828</c:v>
                </c:pt>
                <c:pt idx="1">
                  <c:v>0.310065</c:v>
                </c:pt>
                <c:pt idx="2">
                  <c:v>0.17487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75.4</a:t>
                    </a:r>
                  </a:p>
                </c:rich>
              </c:tx>
              <c:showLegendKey val="0"/>
              <c:showVal val="1"/>
              <c:showCatName val="0"/>
              <c:showSerName val="0"/>
              <c:showPercent val="0"/>
              <c:showBubbleSize val="0"/>
            </c:dLbl>
            <c:dLbl>
              <c:idx val="1"/>
              <c:tx>
                <c:rich>
                  <a:bodyPr/>
                  <a:lstStyle/>
                  <a:p>
                    <a:r>
                      <a:rPr>
                        <a:solidFill>
                          <a:srgbClr val="FFFFFF"/>
                        </a:solidFill>
                      </a:rPr>
                      <a:t>180.9</a:t>
                    </a:r>
                  </a:p>
                </c:rich>
              </c:tx>
              <c:showLegendKey val="0"/>
              <c:showVal val="1"/>
              <c:showCatName val="0"/>
              <c:showSerName val="0"/>
              <c:showPercent val="0"/>
              <c:showBubbleSize val="0"/>
            </c:dLbl>
            <c:dLbl>
              <c:idx val="2"/>
              <c:tx>
                <c:rich>
                  <a:bodyPr/>
                  <a:lstStyle/>
                  <a:p>
                    <a:r>
                      <a:rPr>
                        <a:solidFill>
                          <a:srgbClr val="FFFFFF"/>
                        </a:solidFill>
                      </a:rPr>
                      <a:t>13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5.412286</c:v>
                </c:pt>
                <c:pt idx="1">
                  <c:v>180.887593</c:v>
                </c:pt>
                <c:pt idx="2">
                  <c:v>136.82855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06.0</a:t>
                    </a:r>
                  </a:p>
                </c:rich>
              </c:tx>
              <c:showLegendKey val="0"/>
              <c:showVal val="1"/>
              <c:showCatName val="0"/>
              <c:showSerName val="0"/>
              <c:showPercent val="0"/>
              <c:showBubbleSize val="0"/>
            </c:dLbl>
            <c:dLbl>
              <c:idx val="1"/>
              <c:tx>
                <c:rich>
                  <a:bodyPr/>
                  <a:lstStyle/>
                  <a:p>
                    <a:r>
                      <a:rPr>
                        <a:solidFill>
                          <a:srgbClr val="FFFFFF"/>
                        </a:solidFill>
                      </a:rPr>
                      <a:t>109.3</a:t>
                    </a:r>
                  </a:p>
                </c:rich>
              </c:tx>
              <c:showLegendKey val="0"/>
              <c:showVal val="1"/>
              <c:showCatName val="0"/>
              <c:showSerName val="0"/>
              <c:showPercent val="0"/>
              <c:showBubbleSize val="0"/>
            </c:dLbl>
            <c:dLbl>
              <c:idx val="2"/>
              <c:tx>
                <c:rich>
                  <a:bodyPr/>
                  <a:lstStyle/>
                  <a:p>
                    <a:r>
                      <a:rPr>
                        <a:solidFill>
                          <a:srgbClr val="FFFFFF"/>
                        </a:solidFill>
                      </a:rPr>
                      <a:t>6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06.043912</c:v>
                </c:pt>
                <c:pt idx="1">
                  <c:v>109.258905</c:v>
                </c:pt>
                <c:pt idx="2">
                  <c:v>67.0404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a:solidFill>
                          <a:srgbClr val="FFFFFF"/>
                        </a:solidFill>
                      </a:rPr>
                      <a:t>28.9</a:t>
                    </a:r>
                  </a:p>
                </c:rich>
              </c:tx>
              <c:showLegendKey val="0"/>
              <c:showVal val="1"/>
              <c:showCatName val="0"/>
              <c:showSerName val="0"/>
              <c:showPercent val="0"/>
              <c:showBubbleSize val="0"/>
            </c:dLbl>
            <c:dLbl>
              <c:idx val="1"/>
              <c:tx>
                <c:rich>
                  <a:bodyPr/>
                  <a:lstStyle/>
                  <a:p>
                    <a:r>
                      <a:rPr>
                        <a:solidFill>
                          <a:srgbClr val="FFFFFF"/>
                        </a:solidFill>
                      </a:rPr>
                      <a:t>29.6</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28.880177</c:v>
                </c:pt>
                <c:pt idx="1">
                  <c:v>29.571974</c:v>
                </c:pt>
                <c:pt idx="2">
                  <c:v>18.86748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a:solidFill>
                          <a:srgbClr val="FFFFFF"/>
                        </a:solidFill>
                      </a:rPr>
                      <a:t>6.0</a:t>
                    </a:r>
                  </a:p>
                </c:rich>
              </c:tx>
              <c:showLegendKey val="0"/>
              <c:showVal val="1"/>
              <c:showCatName val="0"/>
              <c:showSerName val="0"/>
              <c:showPercent val="0"/>
              <c:showBubbleSize val="0"/>
            </c:dLbl>
            <c:dLbl>
              <c:idx val="1"/>
              <c:tx>
                <c:rich>
                  <a:bodyPr/>
                  <a:lstStyle/>
                  <a:p>
                    <a:r>
                      <a:rPr>
                        <a:solidFill>
                          <a:srgbClr val="FFFFFF"/>
                        </a:solidFill>
                      </a:rPr>
                      <a:t>5.7</a:t>
                    </a:r>
                  </a:p>
                </c:rich>
              </c:tx>
              <c:showLegendKey val="0"/>
              <c:showVal val="1"/>
              <c:showCatName val="0"/>
              <c:showSerName val="0"/>
              <c:showPercent val="0"/>
              <c:showBubbleSize val="0"/>
            </c:dLbl>
            <c:dLbl>
              <c:idx val="2"/>
              <c:tx>
                <c:rich>
                  <a:bodyPr/>
                  <a:lstStyle/>
                  <a:p>
                    <a:r>
                      <a:rPr>
                        <a:solidFill>
                          <a:srgbClr val="FFFFFF"/>
                        </a:solidFill>
                      </a:rPr>
                      <a:t>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035849</c:v>
                </c:pt>
                <c:pt idx="1">
                  <c:v>5.681157</c:v>
                </c:pt>
                <c:pt idx="2">
                  <c:v>3.88675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Amazon</c:v>
                </c:pt>
              </c:strCache>
            </c:strRef>
          </c:tx>
          <c:spPr>
            <a:solidFill>
              <a:srgbClr val="7F7F7F"/>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6.3</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640038</c:v>
                </c:pt>
                <c:pt idx="1">
                  <c:v>6.308323</c:v>
                </c:pt>
                <c:pt idx="2">
                  <c:v>4.43678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2</a:t>
                    </a:r>
                  </a:p>
                </c:rich>
              </c:tx>
              <c:showLegendKey val="0"/>
              <c:showVal val="1"/>
              <c:showCatName val="0"/>
              <c:showSerName val="0"/>
              <c:showPercent val="0"/>
              <c:showBubbleSize val="0"/>
            </c:dLbl>
            <c:dLbl>
              <c:idx val="1"/>
              <c:tx>
                <c:rich>
                  <a:bodyPr/>
                  <a:lstStyle/>
                  <a:p>
                    <a:r>
                      <a:rPr>
                        <a:solidFill>
                          <a:srgbClr val="FFFFFF"/>
                        </a:solidFill>
                      </a:rPr>
                      <a:t>7.7</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2.22593</c:v>
                </c:pt>
                <c:pt idx="1">
                  <c:v>7.682041</c:v>
                </c:pt>
                <c:pt idx="2">
                  <c:v>7.1526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7%</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119759868123245</c:v>
                </c:pt>
                <c:pt idx="1">
                  <c:v>0.45841199581943626</c:v>
                </c:pt>
                <c:pt idx="2">
                  <c:v>0.477205517368197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6012333945923</c:v>
                </c:pt>
                <c:pt idx="1">
                  <c:v>0.2344233751345825</c:v>
                </c:pt>
                <c:pt idx="2">
                  <c:v>0.217165502621850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344785193319514</c:v>
                </c:pt>
                <c:pt idx="1">
                  <c:v>0.12904120353199885</c:v>
                </c:pt>
                <c:pt idx="2">
                  <c:v>0.118959066024140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487358999034644</c:v>
                </c:pt>
                <c:pt idx="1">
                  <c:v>0.06536959039426297</c:v>
                </c:pt>
                <c:pt idx="2">
                  <c:v>0.067395516571701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804523590630693</c:v>
                </c:pt>
                <c:pt idx="1">
                  <c:v>0.05329984612267465</c:v>
                </c:pt>
                <c:pt idx="2">
                  <c:v>0.0572325498512031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42494982570226</c:v>
                </c:pt>
                <c:pt idx="1">
                  <c:v>0.014016196281268002</c:v>
                </c:pt>
                <c:pt idx="2">
                  <c:v>0.01366824859270789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217389128597345</c:v>
                </c:pt>
                <c:pt idx="1">
                  <c:v>0.04543779271577672</c:v>
                </c:pt>
                <c:pt idx="2">
                  <c:v>0.048373598970198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0751158715896887</c:v>
                </c:pt>
                <c:pt idx="1">
                  <c:v>0.308178155729694</c:v>
                </c:pt>
                <c:pt idx="2">
                  <c:v>0.321245018170783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293902523966667</c:v>
                </c:pt>
                <c:pt idx="1">
                  <c:v>0.15048839291062924</c:v>
                </c:pt>
                <c:pt idx="2">
                  <c:v>0.1448525245487298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092332912912938</c:v>
                </c:pt>
                <c:pt idx="1">
                  <c:v>0.2973198721385461</c:v>
                </c:pt>
                <c:pt idx="2">
                  <c:v>0.28827282993212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3289997655786367</c:v>
                </c:pt>
                <c:pt idx="1">
                  <c:v>0.1267064800830747</c:v>
                </c:pt>
                <c:pt idx="2">
                  <c:v>0.1231691208924034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9050324959236207</c:v>
                </c:pt>
                <c:pt idx="1">
                  <c:v>0.03509091500599269</c:v>
                </c:pt>
                <c:pt idx="2">
                  <c:v>0.0392610785502605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162191939456021</c:v>
                </c:pt>
                <c:pt idx="1">
                  <c:v>0.03388053231852183</c:v>
                </c:pt>
                <c:pt idx="2">
                  <c:v>0.0335859857536464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674387539841063</c:v>
                </c:pt>
                <c:pt idx="1">
                  <c:v>0.04833565181354148</c:v>
                </c:pt>
                <c:pt idx="2">
                  <c:v>0.049613442152049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6%</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58645707376058</c:v>
                </c:pt>
                <c:pt idx="1">
                  <c:v>0.5378274117083836</c:v>
                </c:pt>
                <c:pt idx="2">
                  <c:v>0.53342326978234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6262300881356027</c:v>
                </c:pt>
                <c:pt idx="1">
                  <c:v>0.260348802306563</c:v>
                </c:pt>
                <c:pt idx="2">
                  <c:v>0.263299163898711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212187710481308</c:v>
                </c:pt>
                <c:pt idx="1">
                  <c:v>0.08739636050293081</c:v>
                </c:pt>
                <c:pt idx="2">
                  <c:v>0.0802319155861847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889683622635608</c:v>
                </c:pt>
                <c:pt idx="1">
                  <c:v>0.05855046618166522</c:v>
                </c:pt>
                <c:pt idx="2">
                  <c:v>0.0519458626973802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6050573842224043</c:v>
                </c:pt>
                <c:pt idx="1">
                  <c:v>0.03564286328190333</c:v>
                </c:pt>
                <c:pt idx="2">
                  <c:v>0.0486578130030430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21661996636988503</c:v>
                </c:pt>
                <c:pt idx="1">
                  <c:v>0.02023409601855408</c:v>
                </c:pt>
                <c:pt idx="2">
                  <c:v>0.0224419750323323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987844178826999</c:v>
                </c:pt>
                <c:pt idx="1">
                  <c:v>0.3723324704551629</c:v>
                </c:pt>
                <c:pt idx="2">
                  <c:v>0.37133307835268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411334147433082</c:v>
                </c:pt>
                <c:pt idx="1">
                  <c:v>0.2303127005359381</c:v>
                </c:pt>
                <c:pt idx="2">
                  <c:v>0.258472860464728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9526488283016705</c:v>
                </c:pt>
                <c:pt idx="1">
                  <c:v>0.2567007387949638</c:v>
                </c:pt>
                <c:pt idx="2">
                  <c:v>0.228858228646877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Amaz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801876153917643</c:v>
                </c:pt>
                <c:pt idx="1">
                  <c:v>0.09056816244491936</c:v>
                </c:pt>
                <c:pt idx="2">
                  <c:v>0.0805633100179031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1833982691589933</c:v>
                </c:pt>
                <c:pt idx="1">
                  <c:v>0.030013439481070887</c:v>
                </c:pt>
                <c:pt idx="2">
                  <c:v>0.0418945696404277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9815759729447976</c:v>
                </c:pt>
                <c:pt idx="1">
                  <c:v>0.020072488287945008</c:v>
                </c:pt>
                <c:pt idx="2">
                  <c:v>0.0188779528773823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37925364087181</c:v>
                </c:pt>
                <c:pt idx="1">
                  <c:v>0.5535933454623614</c:v>
                </c:pt>
                <c:pt idx="2">
                  <c:v>0.57718206318195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204774594589237</c:v>
                </c:pt>
                <c:pt idx="1">
                  <c:v>0.35281470376497004</c:v>
                </c:pt>
                <c:pt idx="2">
                  <c:v>0.321844801185150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388311979848469</c:v>
                </c:pt>
                <c:pt idx="1">
                  <c:v>0.0563080008635509</c:v>
                </c:pt>
                <c:pt idx="2">
                  <c:v>0.0730172772265549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2746639070439896</c:v>
                </c:pt>
                <c:pt idx="1">
                  <c:v>0.010448475223019983</c:v>
                </c:pt>
                <c:pt idx="2">
                  <c:v>0.01038859593810089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7529958776464917</c:v>
                </c:pt>
                <c:pt idx="1">
                  <c:v>0.026835474686097635</c:v>
                </c:pt>
                <c:pt idx="2">
                  <c:v>0.017567262468238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19081768595175</c:v>
                </c:pt>
                <c:pt idx="1">
                  <c:v>0.5124763819890942</c:v>
                </c:pt>
                <c:pt idx="2">
                  <c:v>0.556928033893571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2525937914073</c:v>
                </c:pt>
                <c:pt idx="1">
                  <c:v>0.3681948685500338</c:v>
                </c:pt>
                <c:pt idx="2">
                  <c:v>0.319808272825145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03900987713711</c:v>
                </c:pt>
                <c:pt idx="1">
                  <c:v>0.055416400885733685</c:v>
                </c:pt>
                <c:pt idx="2">
                  <c:v>0.073523648106470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3882571542962375</c:v>
                </c:pt>
                <c:pt idx="1">
                  <c:v>0.020690780725142147</c:v>
                </c:pt>
                <c:pt idx="2">
                  <c:v>0.01853421187093971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129321491207603</c:v>
                </c:pt>
                <c:pt idx="1">
                  <c:v>0.04322156784999617</c:v>
                </c:pt>
                <c:pt idx="2">
                  <c:v>0.0312058333038729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1157128480266686</c:v>
                </c:pt>
                <c:pt idx="1">
                  <c:v>0.4087999004391052</c:v>
                </c:pt>
                <c:pt idx="2">
                  <c:v>0.44273895504022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4504198752599135</c:v>
                </c:pt>
                <c:pt idx="1">
                  <c:v>0.23645265026750803</c:v>
                </c:pt>
                <c:pt idx="2">
                  <c:v>0.1979395320815823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434451187736814</c:v>
                </c:pt>
                <c:pt idx="1">
                  <c:v>0.18698886755359312</c:v>
                </c:pt>
                <c:pt idx="2">
                  <c:v>0.1709391495454344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0955681484350974</c:v>
                </c:pt>
                <c:pt idx="1">
                  <c:v>0.11839000877138083</c:v>
                </c:pt>
                <c:pt idx="2">
                  <c:v>0.13057069052624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9923357690812363</c:v>
                </c:pt>
                <c:pt idx="1">
                  <c:v>0.011346993123843711</c:v>
                </c:pt>
                <c:pt idx="2">
                  <c:v>0.00922293770883142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3956204325965153</c:v>
                </c:pt>
                <c:pt idx="1">
                  <c:v>0.038021579844569116</c:v>
                </c:pt>
                <c:pt idx="2">
                  <c:v>0.0485887350976852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685264130987043</c:v>
                </c:pt>
                <c:pt idx="1">
                  <c:v>0.2713449032946213</c:v>
                </c:pt>
                <c:pt idx="2">
                  <c:v>0.2818176339340411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1639710822075532</c:v>
                </c:pt>
                <c:pt idx="1">
                  <c:v>0.1145468429716835</c:v>
                </c:pt>
                <c:pt idx="2">
                  <c:v>0.092213726042465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66538319349453</c:v>
                </c:pt>
                <c:pt idx="1">
                  <c:v>0.36851507129356137</c:v>
                </c:pt>
                <c:pt idx="2">
                  <c:v>0.378683055449564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966423151538408</c:v>
                </c:pt>
                <c:pt idx="1">
                  <c:v>0.19505768474938034</c:v>
                </c:pt>
                <c:pt idx="2">
                  <c:v>0.193418058813461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Universal Razor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8295321004430143</c:v>
                </c:pt>
                <c:pt idx="1">
                  <c:v>0.00967481478285239</c:v>
                </c:pt>
                <c:pt idx="2">
                  <c:v>0.007721162614963101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4360052317281643</c:v>
                </c:pt>
                <c:pt idx="1">
                  <c:v>0.04086068290790114</c:v>
                </c:pt>
                <c:pt idx="2">
                  <c:v>0.0461463631455041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136956927632766</c:v>
                </c:pt>
                <c:pt idx="1">
                  <c:v>0.3969334714577342</c:v>
                </c:pt>
                <c:pt idx="2">
                  <c:v>0.416877533622898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73551034661773</c:v>
                </c:pt>
                <c:pt idx="1">
                  <c:v>0.24010171863382904</c:v>
                </c:pt>
                <c:pt idx="2">
                  <c:v>0.216520647196440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9884156100747727</c:v>
                </c:pt>
                <c:pt idx="1">
                  <c:v>0.19798822065037036</c:v>
                </c:pt>
                <c:pt idx="2">
                  <c:v>0.19580923227937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297930699843737</c:v>
                </c:pt>
                <c:pt idx="1">
                  <c:v>0.11399098143906053</c:v>
                </c:pt>
                <c:pt idx="2">
                  <c:v>0.1184511710500558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Deflect O Corp</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4474230568233775</c:v>
                </c:pt>
                <c:pt idx="1">
                  <c:v>0.01818965580167091</c:v>
                </c:pt>
                <c:pt idx="2">
                  <c:v>0.01807875488746806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Razor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9858204255831242</c:v>
                </c:pt>
                <c:pt idx="1">
                  <c:v>0.011111282331195696</c:v>
                </c:pt>
                <c:pt idx="2">
                  <c:v>0.0121052040596277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5122024427515377</c:v>
                </c:pt>
                <c:pt idx="1">
                  <c:v>0.021684669686139295</c:v>
                </c:pt>
                <c:pt idx="2">
                  <c:v>0.0221574569041322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4806619940707955</c:v>
                </c:pt>
                <c:pt idx="1">
                  <c:v>0.24938695144905149</c:v>
                </c:pt>
                <c:pt idx="2">
                  <c:v>0.253552710408143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1247153063472115</c:v>
                </c:pt>
                <c:pt idx="1">
                  <c:v>0.11038914641664109</c:v>
                </c:pt>
                <c:pt idx="2">
                  <c:v>0.098975252205002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i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932264618312814</c:v>
                </c:pt>
                <c:pt idx="1">
                  <c:v>0.3937299288093315</c:v>
                </c:pt>
                <c:pt idx="2">
                  <c:v>0.407571730837336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926104565332352</c:v>
                </c:pt>
                <c:pt idx="1">
                  <c:v>0.19047565077429973</c:v>
                </c:pt>
                <c:pt idx="2">
                  <c:v>0.1824314124867796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Deflect O Corp</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9677453409672196</c:v>
                </c:pt>
                <c:pt idx="1">
                  <c:v>0.024678068408810292</c:v>
                </c:pt>
                <c:pt idx="2">
                  <c:v>0.02657647357646935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Razor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8022187951242014</c:v>
                </c:pt>
                <c:pt idx="1">
                  <c:v>0.009236094445859794</c:v>
                </c:pt>
                <c:pt idx="2">
                  <c:v>0.0099809288914925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5925710232768486</c:v>
                </c:pt>
                <c:pt idx="1">
                  <c:v>0.022104159696006105</c:v>
                </c:pt>
                <c:pt idx="2">
                  <c:v>0.02091149159477544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626997105168836</c:v>
                </c:pt>
                <c:pt idx="1">
                  <c:v>0.32769551715688405</c:v>
                </c:pt>
                <c:pt idx="2">
                  <c:v>0.31870695983370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4502265535583</c:v>
                </c:pt>
                <c:pt idx="1">
                  <c:v>0.10685061865012489</c:v>
                </c:pt>
                <c:pt idx="2">
                  <c:v>0.1008008658265813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697472703740424</c:v>
                </c:pt>
                <c:pt idx="1">
                  <c:v>0.11373087157610944</c:v>
                </c:pt>
                <c:pt idx="2">
                  <c:v>0.113846089531119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474930601492369</c:v>
                </c:pt>
                <c:pt idx="1">
                  <c:v>0.09052085877070346</c:v>
                </c:pt>
                <c:pt idx="2">
                  <c:v>0.0796285865041720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vlon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392255121528711</c:v>
                </c:pt>
                <c:pt idx="1">
                  <c:v>0.076506130628812</c:v>
                </c:pt>
                <c:pt idx="2">
                  <c:v>0.0743837397405668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3441790717803105</c:v>
                </c:pt>
                <c:pt idx="1">
                  <c:v>0.08006847129324576</c:v>
                </c:pt>
                <c:pt idx="2">
                  <c:v>0.079178071399580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387857543987754</c:v>
                </c:pt>
                <c:pt idx="1">
                  <c:v>0.021531813375199476</c:v>
                </c:pt>
                <c:pt idx="2">
                  <c:v>0.007054722372503241</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8026937754049164</c:v>
                </c:pt>
                <c:pt idx="1">
                  <c:v>0.03010281541561062</c:v>
                </c:pt>
                <c:pt idx="2">
                  <c:v>0.02696721525715281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flect O Corp</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330835291789973</c:v>
                </c:pt>
                <c:pt idx="1">
                  <c:v>0.034328803374641156</c:v>
                </c:pt>
                <c:pt idx="2">
                  <c:v>0.0333627142420319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6849578285028878</c:v>
                </c:pt>
                <c:pt idx="1">
                  <c:v>0.11866409975866916</c:v>
                </c:pt>
                <c:pt idx="2">
                  <c:v>0.1660710352925836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970025174815803</c:v>
                </c:pt>
                <c:pt idx="1">
                  <c:v>0.30639396143423925</c:v>
                </c:pt>
                <c:pt idx="2">
                  <c:v>0.291155653803882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49871375719293</c:v>
                </c:pt>
                <c:pt idx="1">
                  <c:v>0.1620223343115191</c:v>
                </c:pt>
                <c:pt idx="2">
                  <c:v>0.154259584084043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87504284102257</c:v>
                </c:pt>
                <c:pt idx="1">
                  <c:v>0.0712162570956595</c:v>
                </c:pt>
                <c:pt idx="2">
                  <c:v>0.0744420795026356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621434038925265</c:v>
                </c:pt>
                <c:pt idx="1">
                  <c:v>0.09761854194173968</c:v>
                </c:pt>
                <c:pt idx="2">
                  <c:v>0.089944894527973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vlon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447765782213901</c:v>
                </c:pt>
                <c:pt idx="1">
                  <c:v>0.04699633346861576</c:v>
                </c:pt>
                <c:pt idx="2">
                  <c:v>0.047371290409853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423224629633688</c:v>
                </c:pt>
                <c:pt idx="1">
                  <c:v>0.08783455231261954</c:v>
                </c:pt>
                <c:pt idx="2">
                  <c:v>0.0922587238103032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9101726889336212</c:v>
                </c:pt>
                <c:pt idx="1">
                  <c:v>0.021228388991218355</c:v>
                </c:pt>
                <c:pt idx="2">
                  <c:v>0.0084993063882245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merican Intl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6904977460212469</c:v>
                </c:pt>
                <c:pt idx="1">
                  <c:v>0.033301927253051436</c:v>
                </c:pt>
                <c:pt idx="2">
                  <c:v>0.0303224559204252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flect O Corp</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881835141183768</c:v>
                </c:pt>
                <c:pt idx="1">
                  <c:v>0.06512103778434619</c:v>
                </c:pt>
                <c:pt idx="2">
                  <c:v>0.06630763688461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8962792842383707</c:v>
                </c:pt>
                <c:pt idx="1">
                  <c:v>0.10826666540699117</c:v>
                </c:pt>
                <c:pt idx="2">
                  <c:v>0.145438374668046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88301861467188</c:v>
                </c:pt>
                <c:pt idx="1">
                  <c:v>0.5518072034559028</c:v>
                </c:pt>
                <c:pt idx="2">
                  <c:v>0.538468214837980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12580027216261</c:v>
                </c:pt>
                <c:pt idx="1">
                  <c:v>0.30395309193660724</c:v>
                </c:pt>
                <c:pt idx="2">
                  <c:v>0.30707701595249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060742300000567</c:v>
                </c:pt>
                <c:pt idx="1">
                  <c:v>0.07166908458758188</c:v>
                </c:pt>
                <c:pt idx="2">
                  <c:v>0.0641265790453018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98946188204331</c:v>
                </c:pt>
                <c:pt idx="1">
                  <c:v>0.04362888205823153</c:v>
                </c:pt>
                <c:pt idx="2">
                  <c:v>0.0600675189454216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940976931121636</c:v>
                </c:pt>
                <c:pt idx="1">
                  <c:v>0.02894173796167648</c:v>
                </c:pt>
                <c:pt idx="2">
                  <c:v>0.03026067121880579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8082369047607626</c:v>
                </c:pt>
                <c:pt idx="1">
                  <c:v>0.4119203604505536</c:v>
                </c:pt>
                <c:pt idx="2">
                  <c:v>0.38774637252867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2004523973166</c:v>
                </c:pt>
                <c:pt idx="1">
                  <c:v>0.35296855246507086</c:v>
                </c:pt>
                <c:pt idx="2">
                  <c:v>0.3859645194646282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3913983025590174</c:v>
                </c:pt>
                <c:pt idx="1">
                  <c:v>0.14518377323236878</c:v>
                </c:pt>
                <c:pt idx="2">
                  <c:v>0.1263605250297723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0534072935260456</c:v>
                </c:pt>
                <c:pt idx="1">
                  <c:v>0.04811254058724322</c:v>
                </c:pt>
                <c:pt idx="2">
                  <c:v>0.0657100585177594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945716660110154</c:v>
                </c:pt>
                <c:pt idx="1">
                  <c:v>0.0418147732647636</c:v>
                </c:pt>
                <c:pt idx="2">
                  <c:v>0.034218524459167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53072648098094</c:v>
                </c:pt>
                <c:pt idx="1">
                  <c:v>0.5609655816242193</c:v>
                </c:pt>
                <c:pt idx="2">
                  <c:v>0.550761285097850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3087241014945906</c:v>
                </c:pt>
                <c:pt idx="1">
                  <c:v>0.3513058673217475</c:v>
                </c:pt>
                <c:pt idx="2">
                  <c:v>0.351108180139857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303429985366102</c:v>
                </c:pt>
                <c:pt idx="1">
                  <c:v>0.08566196609037337</c:v>
                </c:pt>
                <c:pt idx="2">
                  <c:v>0.095726899168368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7860251870704742</c:v>
                </c:pt>
                <c:pt idx="1">
                  <c:v>0.002066584963659783</c:v>
                </c:pt>
                <c:pt idx="2">
                  <c:v>0.00240363559392301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117116284154476</c:v>
                </c:pt>
                <c:pt idx="1">
                  <c:v>0.49035938989106087</c:v>
                </c:pt>
                <c:pt idx="2">
                  <c:v>0.463006131946922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99712591275882</c:v>
                </c:pt>
                <c:pt idx="1">
                  <c:v>0.3824873055984459</c:v>
                </c:pt>
                <c:pt idx="2">
                  <c:v>0.39924234161605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139624520428906</c:v>
                </c:pt>
                <c:pt idx="1">
                  <c:v>0.12073980783131523</c:v>
                </c:pt>
                <c:pt idx="2">
                  <c:v>0.1327391517677509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6920867252675173</c:v>
                </c:pt>
                <c:pt idx="1">
                  <c:v>0.006413496679177994</c:v>
                </c:pt>
                <c:pt idx="2">
                  <c:v>0.00501237466927553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340467027908073</c:v>
                </c:pt>
                <c:pt idx="1">
                  <c:v>0.5519568917509197</c:v>
                </c:pt>
                <c:pt idx="2">
                  <c:v>0.590850028829983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1641744749821624</c:v>
                </c:pt>
                <c:pt idx="1">
                  <c:v>0.3925996250774552</c:v>
                </c:pt>
                <c:pt idx="2">
                  <c:v>0.3346802653428921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900904678332119</c:v>
                </c:pt>
                <c:pt idx="1">
                  <c:v>0.05493214529425145</c:v>
                </c:pt>
                <c:pt idx="2">
                  <c:v>0.0739428585126623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5268029276552612</c:v>
                </c:pt>
                <c:pt idx="1">
                  <c:v>0.0005113378773736598</c:v>
                </c:pt>
                <c:pt idx="2">
                  <c:v>0.00052684731446196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122163051933413</c:v>
                </c:pt>
                <c:pt idx="1">
                  <c:v>0.3415731622679308</c:v>
                </c:pt>
                <c:pt idx="2">
                  <c:v>0.38184089839437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694291242006826</c:v>
                </c:pt>
                <c:pt idx="1">
                  <c:v>0.6372128055830977</c:v>
                </c:pt>
                <c:pt idx="2">
                  <c:v>0.58626057851092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6349569442621822</c:v>
                </c:pt>
                <c:pt idx="1">
                  <c:v>0.0191010828235991</c:v>
                </c:pt>
                <c:pt idx="2">
                  <c:v>0.02963577482975127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2005001163354257</c:v>
                </c:pt>
                <c:pt idx="1">
                  <c:v>0.0021129493253724237</c:v>
                </c:pt>
                <c:pt idx="2">
                  <c:v>0.0022627482649564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6%</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6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609047441119269</c:v>
                </c:pt>
                <c:pt idx="1">
                  <c:v>0.6294111122818412</c:v>
                </c:pt>
                <c:pt idx="2">
                  <c:v>0.60638024927880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011365218600173</c:v>
                </c:pt>
                <c:pt idx="1">
                  <c:v>0.24229573487949027</c:v>
                </c:pt>
                <c:pt idx="2">
                  <c:v>0.269708027740156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997644730953704</c:v>
                </c:pt>
                <c:pt idx="1">
                  <c:v>0.09201249075532494</c:v>
                </c:pt>
                <c:pt idx="2">
                  <c:v>0.0835000243942934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8257061475206278</c:v>
                </c:pt>
                <c:pt idx="1">
                  <c:v>0.032897200483799176</c:v>
                </c:pt>
                <c:pt idx="2">
                  <c:v>0.0348626605212843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07480949173280959</c:v>
                </c:pt>
                <c:pt idx="1">
                  <c:v>0.0033834615995444036</c:v>
                </c:pt>
                <c:pt idx="2">
                  <c:v>0.0055490380654611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99781505128135</c:v>
                </c:pt>
                <c:pt idx="1">
                  <c:v>0.4745936366537438</c:v>
                </c:pt>
                <c:pt idx="2">
                  <c:v>0.428508992411954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35148796863323</c:v>
                </c:pt>
                <c:pt idx="1">
                  <c:v>0.2910052748647084</c:v>
                </c:pt>
                <c:pt idx="2">
                  <c:v>0.363144436469696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8520264355600172</c:v>
                </c:pt>
                <c:pt idx="1">
                  <c:v>0.18967749039129997</c:v>
                </c:pt>
                <c:pt idx="2">
                  <c:v>0.16570030124979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0105793732490837</c:v>
                </c:pt>
                <c:pt idx="1">
                  <c:v>0.038951633449215275</c:v>
                </c:pt>
                <c:pt idx="2">
                  <c:v>0.0367715660512521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1985325123616605</c:v>
                </c:pt>
                <c:pt idx="1">
                  <c:v>0.005771964641032503</c:v>
                </c:pt>
                <c:pt idx="2">
                  <c:v>0.0058747038173003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3.717863</c:v>
                </c:pt>
                <c:pt idx="1">
                  <c:v>3.751208</c:v>
                </c:pt>
                <c:pt idx="2">
                  <c:v>2.8574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4.60066</c:v>
                </c:pt>
                <c:pt idx="1">
                  <c:v>5.174897</c:v>
                </c:pt>
                <c:pt idx="2">
                  <c:v>3.51624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335685</c:v>
                </c:pt>
                <c:pt idx="1">
                  <c:v>4.221758</c:v>
                </c:pt>
                <c:pt idx="2">
                  <c:v>3.04183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2542</c:v>
                </c:pt>
                <c:pt idx="1">
                  <c:v>0.455102</c:v>
                </c:pt>
                <c:pt idx="2">
                  <c:v>0.38965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684034</c:v>
                </c:pt>
                <c:pt idx="1">
                  <c:v>0.804103</c:v>
                </c:pt>
                <c:pt idx="2">
                  <c:v>0.60805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777543241597224</c:v>
                </c:pt>
                <c:pt idx="1">
                  <c:v>0.4909771858080218</c:v>
                </c:pt>
                <c:pt idx="2">
                  <c:v>0.5378563860387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577720679518489</c:v>
                </c:pt>
                <c:pt idx="1">
                  <c:v>0.42455518515761503</c:v>
                </c:pt>
                <c:pt idx="2">
                  <c:v>0.3794376714635860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572670959827703</c:v>
                </c:pt>
                <c:pt idx="1">
                  <c:v>0.04739330831353713</c:v>
                </c:pt>
                <c:pt idx="2">
                  <c:v>0.0502280459947669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8742153711960287</c:v>
                </c:pt>
                <c:pt idx="1">
                  <c:v>0.02691373896416306</c:v>
                </c:pt>
                <c:pt idx="2">
                  <c:v>0.00786621526401752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7445781914160995e-06</c:v>
                </c:pt>
                <c:pt idx="1">
                  <c:v>0.010160581756662967</c:v>
                </c:pt>
                <c:pt idx="2">
                  <c:v>0.02461168123886856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253332637073593</c:v>
                </c:pt>
                <c:pt idx="1">
                  <c:v>0.4331829437094329</c:v>
                </c:pt>
                <c:pt idx="2">
                  <c:v>0.480649329281832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43760501117124</c:v>
                </c:pt>
                <c:pt idx="1">
                  <c:v>0.3950303718006602</c:v>
                </c:pt>
                <c:pt idx="2">
                  <c:v>0.369602585535406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721890914861563</c:v>
                </c:pt>
                <c:pt idx="1">
                  <c:v>0.09047074571215781</c:v>
                </c:pt>
                <c:pt idx="2">
                  <c:v>0.1003272764090604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i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306533436913272</c:v>
                </c:pt>
                <c:pt idx="1">
                  <c:v>0.06962088563207633</c:v>
                </c:pt>
                <c:pt idx="2">
                  <c:v>0.01884384963118842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6.442663179942565e-06</c:v>
                </c:pt>
                <c:pt idx="1">
                  <c:v>0.011695053145672766</c:v>
                </c:pt>
                <c:pt idx="2">
                  <c:v>0.0305769591425116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9739966404418674</c:v>
                </c:pt>
                <c:pt idx="1">
                  <c:v>0.31014974676390056</c:v>
                </c:pt>
                <c:pt idx="2">
                  <c:v>0.326552110007646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Deflect O Corp</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49109337483748</c:v>
                </c:pt>
                <c:pt idx="1">
                  <c:v>0.24613012439571777</c:v>
                </c:pt>
                <c:pt idx="2">
                  <c:v>0.232651601251817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999183836159855</c:v>
                </c:pt>
                <c:pt idx="1">
                  <c:v>0.15035036023726822</c:v>
                </c:pt>
                <c:pt idx="2">
                  <c:v>0.1557792627580013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898719761604236</c:v>
                </c:pt>
                <c:pt idx="1">
                  <c:v>0.12700215648509391</c:v>
                </c:pt>
                <c:pt idx="2">
                  <c:v>0.149865837664120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4952785870875288</c:v>
                </c:pt>
                <c:pt idx="1">
                  <c:v>0.12062598427357181</c:v>
                </c:pt>
                <c:pt idx="2">
                  <c:v>0.1125377519577418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088724601645614</c:v>
                </c:pt>
                <c:pt idx="1">
                  <c:v>0.03644154091089742</c:v>
                </c:pt>
                <c:pt idx="2">
                  <c:v>0.001274350764774538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829526150458855</c:v>
                </c:pt>
                <c:pt idx="1">
                  <c:v>0.009300086933550316</c:v>
                </c:pt>
                <c:pt idx="2">
                  <c:v>0.0213390855958984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17.5</a:t>
                    </a:r>
                  </a:p>
                </c:rich>
              </c:tx>
              <c:showLegendKey val="0"/>
              <c:showVal val="1"/>
              <c:showCatName val="0"/>
              <c:showSerName val="0"/>
              <c:showPercent val="0"/>
              <c:showBubbleSize val="0"/>
            </c:dLbl>
            <c:dLbl>
              <c:idx val="1"/>
              <c:tx>
                <c:rich>
                  <a:bodyPr/>
                  <a:lstStyle/>
                  <a:p>
                    <a:r>
                      <a:rPr>
                        <a:solidFill>
                          <a:srgbClr val="FFFFFF"/>
                        </a:solidFill>
                      </a:rPr>
                      <a:t>17.8</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7.507242</c:v>
                </c:pt>
                <c:pt idx="1">
                  <c:v>17.799578</c:v>
                </c:pt>
                <c:pt idx="2">
                  <c:v>13.5291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14.4</a:t>
                    </a:r>
                  </a:p>
                </c:rich>
              </c:tx>
              <c:showLegendKey val="0"/>
              <c:showVal val="1"/>
              <c:showCatName val="0"/>
              <c:showSerName val="0"/>
              <c:showPercent val="0"/>
              <c:showBubbleSize val="0"/>
            </c:dLbl>
            <c:dLbl>
              <c:idx val="1"/>
              <c:tx>
                <c:rich>
                  <a:bodyPr/>
                  <a:lstStyle/>
                  <a:p>
                    <a:r>
                      <a:rPr>
                        <a:solidFill>
                          <a:srgbClr val="FFFFFF"/>
                        </a:solidFill>
                      </a:rPr>
                      <a:t>15.6</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4.378942</c:v>
                </c:pt>
                <c:pt idx="1">
                  <c:v>15.563489</c:v>
                </c:pt>
                <c:pt idx="2">
                  <c:v>11.191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6.3</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640022</c:v>
                </c:pt>
                <c:pt idx="1">
                  <c:v>6.308301</c:v>
                </c:pt>
                <c:pt idx="2">
                  <c:v>4.4367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941872</c:v>
                </c:pt>
                <c:pt idx="1">
                  <c:v>1.676571</c:v>
                </c:pt>
                <c:pt idx="2">
                  <c:v>1.46782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8</a:t>
                    </a:r>
                  </a:p>
                </c:rich>
              </c:tx>
              <c:showLegendKey val="0"/>
              <c:showVal val="1"/>
              <c:showCatName val="0"/>
              <c:showSerName val="0"/>
              <c:showPercent val="0"/>
              <c:showBubbleSize val="0"/>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849704</c:v>
                </c:pt>
                <c:pt idx="1">
                  <c:v>1.958209</c:v>
                </c:pt>
                <c:pt idx="2">
                  <c:v>1.7764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43350611176274</c:v>
                </c:pt>
                <c:pt idx="1">
                  <c:v>0.23263375934849945</c:v>
                </c:pt>
                <c:pt idx="2">
                  <c:v>0.25015588783633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Deflect O Corp</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1434964212025845</c:v>
                </c:pt>
                <c:pt idx="1">
                  <c:v>0.33808292050104694</c:v>
                </c:pt>
                <c:pt idx="2">
                  <c:v>0.346811070240854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81476578135464</c:v>
                </c:pt>
                <c:pt idx="1">
                  <c:v>0.12653201752066598</c:v>
                </c:pt>
                <c:pt idx="2">
                  <c:v>0.13024664919883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Revlon In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6122988821661434</c:v>
                </c:pt>
                <c:pt idx="1">
                  <c:v>0.06422969039547514</c:v>
                </c:pt>
                <c:pt idx="2">
                  <c:v>0.0721886652222110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22864947656781262</c:v>
                </c:pt>
                <c:pt idx="1">
                  <c:v>0.19429351953635268</c:v>
                </c:pt>
                <c:pt idx="2">
                  <c:v>0.1816486949511236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13379682856741</c:v>
                </c:pt>
                <c:pt idx="1">
                  <c:v>0.03624410567756439</c:v>
                </c:pt>
                <c:pt idx="2">
                  <c:v>0.0013526025395545701</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22934755819820102</c:v>
                </c:pt>
                <c:pt idx="1">
                  <c:v>0.007983987020395395</c:v>
                </c:pt>
                <c:pt idx="2">
                  <c:v>0.01759643001108535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658557185146204</c:v>
                </c:pt>
                <c:pt idx="1">
                  <c:v>0.3294098841638197</c:v>
                </c:pt>
                <c:pt idx="2">
                  <c:v>0.28124278463796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51853062480358</c:v>
                </c:pt>
                <c:pt idx="1">
                  <c:v>0.16999191602823358</c:v>
                </c:pt>
                <c:pt idx="2">
                  <c:v>0.1542044617997492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380626876788143</c:v>
                </c:pt>
                <c:pt idx="1">
                  <c:v>0.09396763299869959</c:v>
                </c:pt>
                <c:pt idx="2">
                  <c:v>0.112527669847350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1664985493340732</c:v>
                </c:pt>
                <c:pt idx="1">
                  <c:v>0.08867318899178377</c:v>
                </c:pt>
                <c:pt idx="2">
                  <c:v>0.091183748191078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9595432388349875</c:v>
                </c:pt>
                <c:pt idx="1">
                  <c:v>0.08821008930622705</c:v>
                </c:pt>
                <c:pt idx="2">
                  <c:v>0.0923251343759056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0925445226753015</c:v>
                </c:pt>
                <c:pt idx="1">
                  <c:v>0.053812112947845006</c:v>
                </c:pt>
                <c:pt idx="2">
                  <c:v>0.0494506521045343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2.4219746339815053e-07</c:v>
                </c:pt>
                <c:pt idx="1">
                  <c:v>0.08246999779071305</c:v>
                </c:pt>
                <c:pt idx="2">
                  <c:v>0.1140804014108553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24188454427544</c:v>
                </c:pt>
                <c:pt idx="1">
                  <c:v>0.05167571968965622</c:v>
                </c:pt>
                <c:pt idx="2">
                  <c:v>0.059045437691313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3929614123250994</c:v>
                </c:pt>
                <c:pt idx="1">
                  <c:v>0.00882568928717068</c:v>
                </c:pt>
                <c:pt idx="2">
                  <c:v>0.0004434827327080790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10848993175456755</c:v>
                </c:pt>
                <c:pt idx="1">
                  <c:v>0.032963768795851354</c:v>
                </c:pt>
                <c:pt idx="2">
                  <c:v>0.0454962272085424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624781086308946</c:v>
                </c:pt>
                <c:pt idx="1">
                  <c:v>0.2847796676361318</c:v>
                </c:pt>
                <c:pt idx="2">
                  <c:v>0.2458856910354416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4386516385155554</c:v>
                </c:pt>
                <c:pt idx="1">
                  <c:v>0.15566596515588726</c:v>
                </c:pt>
                <c:pt idx="2">
                  <c:v>0.145398998159610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11428810265513</c:v>
                </c:pt>
                <c:pt idx="1">
                  <c:v>0.05518736147981388</c:v>
                </c:pt>
                <c:pt idx="2">
                  <c:v>0.063600643462843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Deflect O Corp</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99724896421959</c:v>
                </c:pt>
                <c:pt idx="1">
                  <c:v>0.14298022813380604</c:v>
                </c:pt>
                <c:pt idx="2">
                  <c:v>0.14927012236033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16764614736379155</c:v>
                </c:pt>
                <c:pt idx="1">
                  <c:v>0.15803570607740253</c:v>
                </c:pt>
                <c:pt idx="2">
                  <c:v>0.1611294551314006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Universal Prods Mktg</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11524881887332546</c:v>
                </c:pt>
                <c:pt idx="1">
                  <c:v>0.06128186354996325</c:v>
                </c:pt>
                <c:pt idx="2">
                  <c:v>0.0569339588323897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1.5061789107088192e-07</c:v>
                </c:pt>
                <c:pt idx="1">
                  <c:v>0.08294718370327822</c:v>
                </c:pt>
                <c:pt idx="2">
                  <c:v>0.116886372761150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2339969432099007</c:v>
                </c:pt>
                <c:pt idx="1">
                  <c:v>0.02385126843764123</c:v>
                </c:pt>
                <c:pt idx="2">
                  <c:v>0.02739793649981003</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11860104596594453</c:v>
                </c:pt>
                <c:pt idx="1">
                  <c:v>0.007144598618282403</c:v>
                </c:pt>
                <c:pt idx="2">
                  <c:v>0.000307072971596558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2387579747466513</c:v>
                </c:pt>
                <c:pt idx="1">
                  <c:v>0.028126157207793424</c:v>
                </c:pt>
                <c:pt idx="2">
                  <c:v>0.033189748785423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8%</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218163129519708</c:v>
                </c:pt>
                <c:pt idx="1">
                  <c:v>0.6795360388924118</c:v>
                </c:pt>
                <c:pt idx="2">
                  <c:v>0.701996634919153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541610795905383</c:v>
                </c:pt>
                <c:pt idx="1">
                  <c:v>0.15321655041217502</c:v>
                </c:pt>
                <c:pt idx="2">
                  <c:v>0.157884292469270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52900693452602</c:v>
                </c:pt>
                <c:pt idx="1">
                  <c:v>0.1112275417459311</c:v>
                </c:pt>
                <c:pt idx="2">
                  <c:v>0.0885394217158937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252244657881672</c:v>
                </c:pt>
                <c:pt idx="1">
                  <c:v>0.051102303952652715</c:v>
                </c:pt>
                <c:pt idx="2">
                  <c:v>0.0463883527770368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4955063164898457</c:v>
                </c:pt>
                <c:pt idx="1">
                  <c:v>0.004917564996829423</c:v>
                </c:pt>
                <c:pt idx="2">
                  <c:v>0.0051912981186446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73038839154784</c:v>
                </c:pt>
                <c:pt idx="1">
                  <c:v>0.8074988240271558</c:v>
                </c:pt>
                <c:pt idx="2">
                  <c:v>0.81702374466552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octer &amp; Gamble</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0690613521779814</c:v>
                </c:pt>
                <c:pt idx="1">
                  <c:v>0.06853891064302284</c:v>
                </c:pt>
                <c:pt idx="2">
                  <c:v>0.0658011486157204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943098287315709</c:v>
                </c:pt>
                <c:pt idx="1">
                  <c:v>0.08024820837078446</c:v>
                </c:pt>
                <c:pt idx="2">
                  <c:v>0.0662509537099537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899096406575144</c:v>
                </c:pt>
                <c:pt idx="1">
                  <c:v>0.04213731613988141</c:v>
                </c:pt>
                <c:pt idx="2">
                  <c:v>0.0491519092085717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6330786885093269</c:v>
                </c:pt>
                <c:pt idx="1">
                  <c:v>0.0015767408191554597</c:v>
                </c:pt>
                <c:pt idx="2">
                  <c:v>0.001772243800225547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55%</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883504070547164</c:v>
                </c:pt>
                <c:pt idx="1">
                  <c:v>0.5522803874758431</c:v>
                </c:pt>
                <c:pt idx="2">
                  <c:v>0.536756653931816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94962643534303</c:v>
                </c:pt>
                <c:pt idx="1">
                  <c:v>0.31260484385350884</c:v>
                </c:pt>
                <c:pt idx="2">
                  <c:v>0.313346554106211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8793204916744854</c:v>
                </c:pt>
                <c:pt idx="1">
                  <c:v>0.10044066813403178</c:v>
                </c:pt>
                <c:pt idx="2">
                  <c:v>0.108030252918855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7189714190281523</c:v>
                </c:pt>
                <c:pt idx="1">
                  <c:v>0.026588381098420277</c:v>
                </c:pt>
                <c:pt idx="2">
                  <c:v>0.02661378980271993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15651860532505345</c:v>
                </c:pt>
                <c:pt idx="1">
                  <c:v>0.00808571943819608</c:v>
                </c:pt>
                <c:pt idx="2">
                  <c:v>0.01525274924039717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19330679995635</c:v>
                </c:pt>
                <c:pt idx="1">
                  <c:v>0.472340040065978</c:v>
                </c:pt>
                <c:pt idx="2">
                  <c:v>0.432694621638590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82335755433273</c:v>
                </c:pt>
                <c:pt idx="1">
                  <c:v>0.31308250224189804</c:v>
                </c:pt>
                <c:pt idx="2">
                  <c:v>0.338946824304783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80770323462433</c:v>
                </c:pt>
                <c:pt idx="1">
                  <c:v>0.13784831736950467</c:v>
                </c:pt>
                <c:pt idx="2">
                  <c:v>0.145164050704522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bg</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412445510646589</c:v>
                </c:pt>
                <c:pt idx="1">
                  <c:v>0.050682121057329554</c:v>
                </c:pt>
                <c:pt idx="2">
                  <c:v>0.0488687106430356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0234257008328527</c:v>
                </c:pt>
                <c:pt idx="1">
                  <c:v>0.026047019265289705</c:v>
                </c:pt>
                <c:pt idx="2">
                  <c:v>0.0343257927090671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9733299551277</c:v>
                </c:pt>
                <c:pt idx="1">
                  <c:v>1.0</c:v>
                </c:pt>
                <c:pt idx="2">
                  <c:v>1.0</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2.66700448723505e-05</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97944365726703</c:v>
                </c:pt>
                <c:pt idx="1">
                  <c:v>1.0</c:v>
                </c:pt>
                <c:pt idx="2">
                  <c:v>1.0</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20556342732965766</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6%</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617212418305333</c:v>
                </c:pt>
                <c:pt idx="1">
                  <c:v>0.5308697525667612</c:v>
                </c:pt>
                <c:pt idx="2">
                  <c:v>0.53481312686359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440796054095338</c:v>
                </c:pt>
                <c:pt idx="1">
                  <c:v>0.3783479436306367</c:v>
                </c:pt>
                <c:pt idx="2">
                  <c:v>0.3602331003569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274627657648572</c:v>
                </c:pt>
                <c:pt idx="1">
                  <c:v>0.08715043599421728</c:v>
                </c:pt>
                <c:pt idx="2">
                  <c:v>0.1005891323663822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4528761834471735</c:v>
                </c:pt>
                <c:pt idx="1">
                  <c:v>0.003631867808384957</c:v>
                </c:pt>
                <c:pt idx="2">
                  <c:v>0.00436464041307231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421987682335013</c:v>
                </c:pt>
                <c:pt idx="1">
                  <c:v>0.4224788962584315</c:v>
                </c:pt>
                <c:pt idx="2">
                  <c:v>0.445806036520064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389987327288163</c:v>
                </c:pt>
                <c:pt idx="1">
                  <c:v>0.46559196410583287</c:v>
                </c:pt>
                <c:pt idx="2">
                  <c:v>0.43053879207133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290712185313364</c:v>
                </c:pt>
                <c:pt idx="1">
                  <c:v>0.09981601141602019</c:v>
                </c:pt>
                <c:pt idx="2">
                  <c:v>0.115716856711944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589537718454878</c:v>
                </c:pt>
                <c:pt idx="1">
                  <c:v>0.012113128219715427</c:v>
                </c:pt>
                <c:pt idx="2">
                  <c:v>0.00793831469665747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189773989874925</c:v>
                </c:pt>
                <c:pt idx="1">
                  <c:v>0.5965955867940124</c:v>
                </c:pt>
                <c:pt idx="2">
                  <c:v>0.5672985127079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80438322902074</c:v>
                </c:pt>
                <c:pt idx="1">
                  <c:v>0.3191311340472188</c:v>
                </c:pt>
                <c:pt idx="2">
                  <c:v>0.341645393567822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294317254198379</c:v>
                </c:pt>
                <c:pt idx="1">
                  <c:v>0.08402524670663361</c:v>
                </c:pt>
                <c:pt idx="2">
                  <c:v>0.0906857225886910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559618031635261e-05</c:v>
                </c:pt>
                <c:pt idx="1">
                  <c:v>0.00024803245213521954</c:v>
                </c:pt>
                <c:pt idx="2">
                  <c:v>0.00037037113552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75037301962196</c:v>
                </c:pt>
                <c:pt idx="1">
                  <c:v>0.542706057814025</c:v>
                </c:pt>
                <c:pt idx="2">
                  <c:v>0.47497838988984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1814112513215</c:v>
                </c:pt>
                <c:pt idx="1">
                  <c:v>0.3183636629583961</c:v>
                </c:pt>
                <c:pt idx="2">
                  <c:v>0.3774607758391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056611052832121</c:v>
                </c:pt>
                <c:pt idx="1">
                  <c:v>0.13681037240368657</c:v>
                </c:pt>
                <c:pt idx="2">
                  <c:v>0.144584192506241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1604676224421147</c:v>
                </c:pt>
                <c:pt idx="1">
                  <c:v>0.002119906823892235</c:v>
                </c:pt>
                <c:pt idx="2">
                  <c:v>0.00297664176473712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7%</a:t>
                    </a:r>
                  </a:p>
                </c:rich>
              </c:tx>
              <c:showLegendKey val="0"/>
              <c:showVal val="1"/>
              <c:showCatName val="0"/>
              <c:showSerName val="0"/>
              <c:showPercent val="0"/>
              <c:showBubbleSize val="0"/>
            </c:dLbl>
            <c:dLbl>
              <c:idx val="1"/>
              <c:tx>
                <c:rich>
                  <a:bodyPr/>
                  <a:lstStyle/>
                  <a:p>
                    <a:r>
                      <a:rPr sz="800">
                        <a:solidFill>
                          <a:srgbClr val="FFFFFF"/>
                        </a:solidFill>
                        <a:latin typeface="Nexa Book"/>
                      </a:rPr>
                      <a:t>91%</a:t>
                    </a:r>
                  </a:p>
                </c:rich>
              </c:tx>
              <c:showLegendKey val="0"/>
              <c:showVal val="1"/>
              <c:showCatName val="0"/>
              <c:showSerName val="0"/>
              <c:showPercent val="0"/>
              <c:showBubbleSize val="0"/>
            </c:dLbl>
            <c:dLbl>
              <c:idx val="2"/>
              <c:tx>
                <c:rich>
                  <a:bodyPr/>
                  <a:lstStyle/>
                  <a:p>
                    <a:r>
                      <a:rPr sz="800">
                        <a:solidFill>
                          <a:srgbClr val="FFFFFF"/>
                        </a:solidFill>
                        <a:latin typeface="Nexa Book"/>
                      </a:rPr>
                      <a:t>9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666369644496025</c:v>
                </c:pt>
                <c:pt idx="1">
                  <c:v>0.9100640826558513</c:v>
                </c:pt>
                <c:pt idx="2">
                  <c:v>0.97258502521660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33584223995183</c:v>
                </c:pt>
                <c:pt idx="1">
                  <c:v>0.08993366832773567</c:v>
                </c:pt>
                <c:pt idx="2">
                  <c:v>0.0243754681877014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613150879169438e-06</c:v>
                </c:pt>
                <c:pt idx="1">
                  <c:v>2.249016413117327e-06</c:v>
                </c:pt>
                <c:pt idx="2">
                  <c:v>0.00303950659569436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299929860953463</c:v>
                </c:pt>
                <c:pt idx="1">
                  <c:v>0.9327636843026813</c:v>
                </c:pt>
                <c:pt idx="2">
                  <c:v>0.94755316988452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999473343127303</c:v>
                </c:pt>
                <c:pt idx="1">
                  <c:v>0.06722999785193257</c:v>
                </c:pt>
                <c:pt idx="2">
                  <c:v>0.04451774196936910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2280473380670466e-05</c:v>
                </c:pt>
                <c:pt idx="1">
                  <c:v>6.3178453860775145e-06</c:v>
                </c:pt>
                <c:pt idx="2">
                  <c:v>0.0079290881461095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10637533375156</c:v>
                </c:pt>
                <c:pt idx="1">
                  <c:v>0.49093513034965536</c:v>
                </c:pt>
                <c:pt idx="2">
                  <c:v>0.49900770306529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968480752535663</c:v>
                </c:pt>
                <c:pt idx="1">
                  <c:v>0.2826121193246134</c:v>
                </c:pt>
                <c:pt idx="2">
                  <c:v>0.289435555021829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61575635289806</c:v>
                </c:pt>
                <c:pt idx="1">
                  <c:v>0.20210495459908517</c:v>
                </c:pt>
                <c:pt idx="2">
                  <c:v>0.186167663523366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5930607879937361</c:v>
                </c:pt>
                <c:pt idx="1">
                  <c:v>0.022449489202275682</c:v>
                </c:pt>
                <c:pt idx="2">
                  <c:v>0.0208766209580916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018983065243703572</c:v>
                </c:pt>
                <c:pt idx="2">
                  <c:v>0.00451245743141510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20369467740788</c:v>
                </c:pt>
                <c:pt idx="1">
                  <c:v>0.31448099978439237</c:v>
                </c:pt>
                <c:pt idx="2">
                  <c:v>0.32390762411407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518269748948354</c:v>
                </c:pt>
                <c:pt idx="1">
                  <c:v>0.25058393739689694</c:v>
                </c:pt>
                <c:pt idx="2">
                  <c:v>0.246002155572272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3878312336873989</c:v>
                </c:pt>
                <c:pt idx="1">
                  <c:v>0.415689677073218</c:v>
                </c:pt>
                <c:pt idx="2">
                  <c:v>0.409421267638417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4949122049038772</c:v>
                </c:pt>
                <c:pt idx="1">
                  <c:v>0.01880215741364412</c:v>
                </c:pt>
                <c:pt idx="2">
                  <c:v>0.0183995297546560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c:v>
                </c:pt>
                <c:pt idx="1">
                  <c:v>0.0004432283318485933</c:v>
                </c:pt>
                <c:pt idx="2">
                  <c:v>0.00226942292058116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785332759102099</c:v>
                </c:pt>
                <c:pt idx="1">
                  <c:v>0.7494744167722525</c:v>
                </c:pt>
                <c:pt idx="2">
                  <c:v>0.698929425628678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1125749405940797</c:v>
                </c:pt>
                <c:pt idx="1">
                  <c:v>0.20865462479485006</c:v>
                </c:pt>
                <c:pt idx="2">
                  <c:v>0.25437615466752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0209230030382089</c:v>
                </c:pt>
                <c:pt idx="1">
                  <c:v>0.0418709584328975</c:v>
                </c:pt>
                <c:pt idx="2">
                  <c:v>0.0465856690327272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0.0001087506710692425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513651497420972</c:v>
                </c:pt>
                <c:pt idx="1">
                  <c:v>0.6163842676714593</c:v>
                </c:pt>
                <c:pt idx="2">
                  <c:v>0.50454013689457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3377256405492858</c:v>
                </c:pt>
                <c:pt idx="1">
                  <c:v>0.3270734339729057</c:v>
                </c:pt>
                <c:pt idx="2">
                  <c:v>0.44557717470361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4862286202974171</c:v>
                </c:pt>
                <c:pt idx="1">
                  <c:v>0.05654229835563506</c:v>
                </c:pt>
                <c:pt idx="2">
                  <c:v>0.049746911312470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c:v>
                </c:pt>
                <c:pt idx="1">
                  <c:v>0.0</c:v>
                </c:pt>
                <c:pt idx="2">
                  <c:v>0.000135777089338719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2%</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189773989874925</c:v>
                </c:pt>
                <c:pt idx="1">
                  <c:v>0.5965955867940124</c:v>
                </c:pt>
                <c:pt idx="2">
                  <c:v>0.5672985127079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80438322902074</c:v>
                </c:pt>
                <c:pt idx="1">
                  <c:v>0.3191311340472188</c:v>
                </c:pt>
                <c:pt idx="2">
                  <c:v>0.341645393567822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294317254198379</c:v>
                </c:pt>
                <c:pt idx="1">
                  <c:v>0.08402524670663361</c:v>
                </c:pt>
                <c:pt idx="2">
                  <c:v>0.0906857225886910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3.559618031635261e-05</c:v>
                </c:pt>
                <c:pt idx="1">
                  <c:v>0.00024803245213521954</c:v>
                </c:pt>
                <c:pt idx="2">
                  <c:v>0.000370371135520944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775037301962196</c:v>
                </c:pt>
                <c:pt idx="1">
                  <c:v>0.542706057814025</c:v>
                </c:pt>
                <c:pt idx="2">
                  <c:v>0.47497838988984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01814112513215</c:v>
                </c:pt>
                <c:pt idx="1">
                  <c:v>0.3183636629583961</c:v>
                </c:pt>
                <c:pt idx="2">
                  <c:v>0.37746077583917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056611052832121</c:v>
                </c:pt>
                <c:pt idx="1">
                  <c:v>0.13681037240368657</c:v>
                </c:pt>
                <c:pt idx="2">
                  <c:v>0.1445841925062415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1604676224421147</c:v>
                </c:pt>
                <c:pt idx="1">
                  <c:v>0.002119906823892235</c:v>
                </c:pt>
                <c:pt idx="2">
                  <c:v>0.00297664176473712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251370006376255</c:v>
                </c:pt>
                <c:pt idx="1">
                  <c:v>0.4926636213056198</c:v>
                </c:pt>
                <c:pt idx="2">
                  <c:v>0.576017709734147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3%</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3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324005194750618</c:v>
                </c:pt>
                <c:pt idx="1">
                  <c:v>0.4603000766861904</c:v>
                </c:pt>
                <c:pt idx="2">
                  <c:v>0.367296079445536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507850716379385</c:v>
                </c:pt>
                <c:pt idx="1">
                  <c:v>0.035743786795327206</c:v>
                </c:pt>
                <c:pt idx="2">
                  <c:v>0.0322716044274335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7.273297381693757e-06</c:v>
                </c:pt>
                <c:pt idx="1">
                  <c:v>0.011292515212862626</c:v>
                </c:pt>
                <c:pt idx="2">
                  <c:v>0.024414606392883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6543488001901275</c:v>
                </c:pt>
                <c:pt idx="1">
                  <c:v>0.4469034418362845</c:v>
                </c:pt>
                <c:pt idx="2">
                  <c:v>0.55252398149288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74799660344755</c:v>
                </c:pt>
                <c:pt idx="1">
                  <c:v>0.4788398153500266</c:v>
                </c:pt>
                <c:pt idx="2">
                  <c:v>0.363965434939183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9758527896538835</c:v>
                </c:pt>
                <c:pt idx="1">
                  <c:v>0.0630438971222833</c:v>
                </c:pt>
                <c:pt idx="2">
                  <c:v>0.0562061758985785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9317396933695435e-06</c:v>
                </c:pt>
                <c:pt idx="1">
                  <c:v>0.011212845691405612</c:v>
                </c:pt>
                <c:pt idx="2">
                  <c:v>0.02730440766935479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409188706814904</c:v>
                </c:pt>
                <c:pt idx="1">
                  <c:v>0.5173125748291223</c:v>
                </c:pt>
                <c:pt idx="2">
                  <c:v>0.512732068169184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1%</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016574240845527</c:v>
                </c:pt>
                <c:pt idx="1">
                  <c:v>0.412950375023879</c:v>
                </c:pt>
                <c:pt idx="2">
                  <c:v>0.395386951348640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742099581457926</c:v>
                </c:pt>
                <c:pt idx="1">
                  <c:v>0.059962717237836236</c:v>
                </c:pt>
                <c:pt idx="2">
                  <c:v>0.0667180277126549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2.709419377749327e-06</c:v>
                </c:pt>
                <c:pt idx="1">
                  <c:v>0.009774332909162513</c:v>
                </c:pt>
                <c:pt idx="2">
                  <c:v>0.0251629527695198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054599164597954</c:v>
                </c:pt>
                <c:pt idx="1">
                  <c:v>0.4793034650679408</c:v>
                </c:pt>
                <c:pt idx="2">
                  <c:v>0.457364658678655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8213220500007994</c:v>
                </c:pt>
                <c:pt idx="1">
                  <c:v>0.39137592491136314</c:v>
                </c:pt>
                <c:pt idx="2">
                  <c:v>0.382323306449507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240102723849153</c:v>
                </c:pt>
                <c:pt idx="1">
                  <c:v>0.11593473656802435</c:v>
                </c:pt>
                <c:pt idx="2">
                  <c:v>0.1270285553237449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6.851301633121932e-06</c:v>
                </c:pt>
                <c:pt idx="1">
                  <c:v>0.013385873452671738</c:v>
                </c:pt>
                <c:pt idx="2">
                  <c:v>0.0332834795480923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92%</a:t>
                    </a:r>
                  </a:p>
                </c:rich>
              </c:tx>
              <c:showLegendKey val="0"/>
              <c:showVal val="1"/>
              <c:showCatName val="0"/>
              <c:showSerName val="0"/>
              <c:showPercent val="0"/>
              <c:showBubbleSize val="0"/>
            </c:dLbl>
            <c:dLbl>
              <c:idx val="2"/>
              <c:tx>
                <c:rich>
                  <a:bodyPr/>
                  <a:lstStyle/>
                  <a:p>
                    <a:r>
                      <a:rPr sz="800">
                        <a:solidFill>
                          <a:srgbClr val="FFFFFF"/>
                        </a:solidFill>
                        <a:latin typeface="Nexa Book"/>
                      </a:rPr>
                      <a:t>9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75089054667881</c:v>
                </c:pt>
                <c:pt idx="1">
                  <c:v>0.9153932054837205</c:v>
                </c:pt>
                <c:pt idx="2">
                  <c:v>0.97560046226311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490669620283643</c:v>
                </c:pt>
                <c:pt idx="1">
                  <c:v>0.08460465703947112</c:v>
                </c:pt>
                <c:pt idx="2">
                  <c:v>0.02091170412935579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249129282591176e-06</c:v>
                </c:pt>
                <c:pt idx="1">
                  <c:v>2.137476808376629e-06</c:v>
                </c:pt>
                <c:pt idx="2">
                  <c:v>0.00348783360752971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ic</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8355297507118349</c:v>
                </c:pt>
                <c:pt idx="1">
                  <c:v>0.9367132391438238</c:v>
                </c:pt>
                <c:pt idx="2">
                  <c:v>0.95288300582431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6445914935007808</c:v>
                </c:pt>
                <c:pt idx="1">
                  <c:v>0.0632822142427213</c:v>
                </c:pt>
                <c:pt idx="2">
                  <c:v>0.03779223466127215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1.1099938087012004e-05</c:v>
                </c:pt>
                <c:pt idx="1">
                  <c:v>4.546613454968067e-06</c:v>
                </c:pt>
                <c:pt idx="2">
                  <c:v>0.0093247595144103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6151099293105096</c:v>
                </c:pt>
                <c:pt idx="1">
                  <c:v>0.32733412279065593</c:v>
                </c:pt>
                <c:pt idx="2">
                  <c:v>0.319046608476532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338259779443365</c:v>
                </c:pt>
                <c:pt idx="1">
                  <c:v>0.10663806788195998</c:v>
                </c:pt>
                <c:pt idx="2">
                  <c:v>0.100908290142923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643684999730904</c:v>
                </c:pt>
                <c:pt idx="1">
                  <c:v>0.11350463438232469</c:v>
                </c:pt>
                <c:pt idx="2">
                  <c:v>0.1139674162502485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456339536696791</c:v>
                </c:pt>
                <c:pt idx="1">
                  <c:v>0.09043787513069895</c:v>
                </c:pt>
                <c:pt idx="2">
                  <c:v>0.0797355055833167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Revlon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7355086302177519</c:v>
                </c:pt>
                <c:pt idx="1">
                  <c:v>0.07635394211516636</c:v>
                </c:pt>
                <c:pt idx="2">
                  <c:v>0.0744630111071673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317308134125449</c:v>
                </c:pt>
                <c:pt idx="1">
                  <c:v>0.0799091964542774</c:v>
                </c:pt>
                <c:pt idx="2">
                  <c:v>0.0792624521250796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hurch &amp; Dwight Co In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10335626608481492</c:v>
                </c:pt>
                <c:pt idx="1">
                  <c:v>0.021488981583201453</c:v>
                </c:pt>
                <c:pt idx="2">
                  <c:v>0.00706224064847868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5773517391048242</c:v>
                </c:pt>
                <c:pt idx="1">
                  <c:v>0.030042933904194522</c:v>
                </c:pt>
                <c:pt idx="2">
                  <c:v>0.026995954441473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Deflect O Corp</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43090595235089915</c:v>
                </c:pt>
                <c:pt idx="1">
                  <c:v>0.034260515388856494</c:v>
                </c:pt>
                <c:pt idx="2">
                  <c:v>0.03339826916251177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07275680416691865</c:v>
                </c:pt>
                <c:pt idx="1">
                  <c:v>0.12002973036866425</c:v>
                </c:pt>
                <c:pt idx="2">
                  <c:v>0.165160252062268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236980005899692</c:v>
                </c:pt>
                <c:pt idx="1">
                  <c:v>0.3047887732736486</c:v>
                </c:pt>
                <c:pt idx="2">
                  <c:v>0.2926713101787753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895760635537458</c:v>
                </c:pt>
                <c:pt idx="1">
                  <c:v>0.16097489027101722</c:v>
                </c:pt>
                <c:pt idx="2">
                  <c:v>0.15506260651878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Japones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9858267473651194</c:v>
                </c:pt>
                <c:pt idx="1">
                  <c:v>0.07075585733411628</c:v>
                </c:pt>
                <c:pt idx="2">
                  <c:v>0.0748295994112630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Universal Razor Ind</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9310609281640232</c:v>
                </c:pt>
                <c:pt idx="1">
                  <c:v>0.09699916309955904</c:v>
                </c:pt>
                <c:pt idx="2">
                  <c:v>0.0904161959372696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Revlon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302793850760803</c:v>
                </c:pt>
                <c:pt idx="1">
                  <c:v>0.04669251097632593</c:v>
                </c:pt>
                <c:pt idx="2">
                  <c:v>0.04761788908433791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5246458273723943</c:v>
                </c:pt>
                <c:pt idx="1">
                  <c:v>0.08726671838551962</c:v>
                </c:pt>
                <c:pt idx="2">
                  <c:v>0.0927389910524318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hurch &amp; Dwight Co In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8805062228624495</c:v>
                </c:pt>
                <c:pt idx="1">
                  <c:v>0.021091151432996565</c:v>
                </c:pt>
                <c:pt idx="2">
                  <c:v>0.0085435508593216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merican Intl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6679914368300097</c:v>
                </c:pt>
                <c:pt idx="1">
                  <c:v>0.03308663653164158</c:v>
                </c:pt>
                <c:pt idx="2">
                  <c:v>0.03048030421571936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Deflect O Corp</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7624932030776826</c:v>
                </c:pt>
                <c:pt idx="1">
                  <c:v>0.0647000424738641</c:v>
                </c:pt>
                <c:pt idx="2">
                  <c:v>0.06665281167766493</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K$2:$K$4</c:f>
              <c:numCache>
                <c:formatCode>General</c:formatCode>
                <c:ptCount val="3"/>
                <c:pt idx="0">
                  <c:v>0.11911662577371335</c:v>
                </c:pt>
                <c:pt idx="1">
                  <c:v>0.11364425622131108</c:v>
                </c:pt>
                <c:pt idx="2">
                  <c:v>0.1409867410644349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1%</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125454312976824</c:v>
                </c:pt>
                <c:pt idx="1">
                  <c:v>0.525323325456396</c:v>
                </c:pt>
                <c:pt idx="2">
                  <c:v>0.5670734928181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6%</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6570169985889556</c:v>
                </c:pt>
                <c:pt idx="1">
                  <c:v>0.3594253367539479</c:v>
                </c:pt>
                <c:pt idx="2">
                  <c:v>0.333340320726372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978914241040494</c:v>
                </c:pt>
                <c:pt idx="1">
                  <c:v>0.07261837727156387</c:v>
                </c:pt>
                <c:pt idx="2">
                  <c:v>0.0608761967568316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rivate La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1039033176398058</c:v>
                </c:pt>
                <c:pt idx="1">
                  <c:v>0.025287920905232707</c:v>
                </c:pt>
                <c:pt idx="2">
                  <c:v>0.0242581947928028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12094194067024477</c:v>
                </c:pt>
                <c:pt idx="1">
                  <c:v>0.007847203290456604</c:v>
                </c:pt>
                <c:pt idx="2">
                  <c:v>0.00505306458488272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8830499189594616</c:v>
                </c:pt>
                <c:pt idx="1">
                  <c:v>0.009497836322402843</c:v>
                </c:pt>
                <c:pt idx="2">
                  <c:v>0.00939873032096807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684513857927149</c:v>
                </c:pt>
                <c:pt idx="1">
                  <c:v>0.17774543916906652</c:v>
                </c:pt>
                <c:pt idx="2">
                  <c:v>0.1913681239528182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5901486487666464</c:v>
                </c:pt>
                <c:pt idx="1">
                  <c:v>0.5992613373383006</c:v>
                </c:pt>
                <c:pt idx="2">
                  <c:v>0.608996084261914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7467874673165953</c:v>
                </c:pt>
                <c:pt idx="1">
                  <c:v>0.15315693662491803</c:v>
                </c:pt>
                <c:pt idx="2">
                  <c:v>0.133633754324390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rivate La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5125548692647749</c:v>
                </c:pt>
                <c:pt idx="1">
                  <c:v>0.05858204381937413</c:v>
                </c:pt>
                <c:pt idx="2">
                  <c:v>0.0573717326356715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08537482232256722</c:v>
                </c:pt>
                <c:pt idx="1">
                  <c:v>0.005302091904518379</c:v>
                </c:pt>
                <c:pt idx="2">
                  <c:v>0.002830919313316750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06928249550244986</c:v>
                </c:pt>
                <c:pt idx="1">
                  <c:v>0.005952151143822423</c:v>
                </c:pt>
                <c:pt idx="2">
                  <c:v>0.00579938551188861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4474384603003915</c:v>
                </c:pt>
                <c:pt idx="1">
                  <c:v>0.26732192934569476</c:v>
                </c:pt>
                <c:pt idx="2">
                  <c:v>0.299114414753826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3%</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552561539699608</c:v>
                </c:pt>
                <c:pt idx="1">
                  <c:v>0.7326780706543052</c:v>
                </c:pt>
                <c:pt idx="2">
                  <c:v>0.700885585246173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7179607609149203</c:v>
                </c:pt>
                <c:pt idx="1">
                  <c:v>0.2859526684554964</c:v>
                </c:pt>
                <c:pt idx="2">
                  <c:v>0.300982337464585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28203923908508</c:v>
                </c:pt>
                <c:pt idx="1">
                  <c:v>0.7140473315445036</c:v>
                </c:pt>
                <c:pt idx="2">
                  <c:v>0.699017662535414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74%</a:t>
                    </a:r>
                  </a:p>
                </c:rich>
              </c:tx>
              <c:showLegendKey val="0"/>
              <c:showVal val="1"/>
              <c:showCatName val="0"/>
              <c:showSerName val="0"/>
              <c:showPercent val="0"/>
              <c:showBubbleSize val="0"/>
            </c:dLbl>
            <c:dLbl>
              <c:idx val="2"/>
              <c:tx>
                <c:rich>
                  <a:bodyPr/>
                  <a:lstStyle/>
                  <a:p>
                    <a:r>
                      <a:rPr sz="800">
                        <a:solidFill>
                          <a:srgbClr val="FFFFFF"/>
                        </a:solidFill>
                        <a:latin typeface="Nexa Book"/>
                      </a:rPr>
                      <a:t>8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721360857570098</c:v>
                </c:pt>
                <c:pt idx="1">
                  <c:v>0.7368159836185553</c:v>
                </c:pt>
                <c:pt idx="2">
                  <c:v>0.85105139866684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9677616957223557</c:v>
                </c:pt>
                <c:pt idx="1">
                  <c:v>0.23700633449370295</c:v>
                </c:pt>
                <c:pt idx="2">
                  <c:v>0.0792191690961528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24572723633076377</c:v>
                </c:pt>
                <c:pt idx="1">
                  <c:v>0.01453259954657761</c:v>
                </c:pt>
                <c:pt idx="2">
                  <c:v>0.015965296006460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65150210376782505</c:v>
                </c:pt>
                <c:pt idx="1">
                  <c:v>0.011645082341164209</c:v>
                </c:pt>
                <c:pt idx="2">
                  <c:v>0.0537641362305391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2723148691972603</c:v>
                </c:pt>
                <c:pt idx="1">
                  <c:v>0.5106881463746251</c:v>
                </c:pt>
                <c:pt idx="2">
                  <c:v>0.661283007918403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902161770994558</c:v>
                </c:pt>
                <c:pt idx="1">
                  <c:v>0.39332446782088637</c:v>
                </c:pt>
                <c:pt idx="2">
                  <c:v>0.1118836595310747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5860617117050694</c:v>
                </c:pt>
                <c:pt idx="1">
                  <c:v>0.0432478998812097</c:v>
                </c:pt>
                <c:pt idx="2">
                  <c:v>0.049141281379669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39461648103112</c:v>
                </c:pt>
                <c:pt idx="1">
                  <c:v>0.05273948592327878</c:v>
                </c:pt>
                <c:pt idx="2">
                  <c:v>0.177692051170851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357844329740908</c:v>
                </c:pt>
                <c:pt idx="1">
                  <c:v>0.4820798667817105</c:v>
                </c:pt>
                <c:pt idx="2">
                  <c:v>0.450719274523230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8761985353539193</c:v>
                </c:pt>
                <c:pt idx="1">
                  <c:v>0.29586080123106945</c:v>
                </c:pt>
                <c:pt idx="2">
                  <c:v>0.311288694050211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00956663740024</c:v>
                </c:pt>
                <c:pt idx="1">
                  <c:v>0.11481916970398051</c:v>
                </c:pt>
                <c:pt idx="2">
                  <c:v>0.100990854159256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377895938569734</c:v>
                </c:pt>
                <c:pt idx="1">
                  <c:v>0.07083635293904107</c:v>
                </c:pt>
                <c:pt idx="2">
                  <c:v>0.095797075288425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Bic</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2205290192155762</c:v>
                </c:pt>
                <c:pt idx="1">
                  <c:v>0.02003079518226613</c:v>
                </c:pt>
                <c:pt idx="2">
                  <c:v>0.0202228903794328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9807188443238196</c:v>
                </c:pt>
                <c:pt idx="1">
                  <c:v>0.016373014161932323</c:v>
                </c:pt>
                <c:pt idx="2">
                  <c:v>0.0209812115994425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837569195551315</c:v>
                </c:pt>
                <c:pt idx="1">
                  <c:v>0.3157054007801102</c:v>
                </c:pt>
                <c:pt idx="2">
                  <c:v>0.276963712841424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7892091684947706</c:v>
                </c:pt>
                <c:pt idx="1">
                  <c:v>0.34706670231600983</c:v>
                </c:pt>
                <c:pt idx="2">
                  <c:v>0.4005316901559120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Amazon</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288794415427397</c:v>
                </c:pt>
                <c:pt idx="1">
                  <c:v>0.22166828328595806</c:v>
                </c:pt>
                <c:pt idx="2">
                  <c:v>0.18692745216317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3419410165708125</c:v>
                </c:pt>
                <c:pt idx="1">
                  <c:v>0.074130869756015</c:v>
                </c:pt>
                <c:pt idx="2">
                  <c:v>0.0980961391999258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Bic</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3211213989382711</c:v>
                </c:pt>
                <c:pt idx="1">
                  <c:v>0.029749133113735924</c:v>
                </c:pt>
                <c:pt idx="2">
                  <c:v>0.02308885711112327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1751770810136173</c:v>
                </c:pt>
                <c:pt idx="1">
                  <c:v>0.011679610748170985</c:v>
                </c:pt>
                <c:pt idx="2">
                  <c:v>0.01439214852844132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6252438696861745</c:v>
                </c:pt>
                <c:pt idx="1">
                  <c:v>0.12246732371727084</c:v>
                </c:pt>
                <c:pt idx="2">
                  <c:v>0.1122363306273545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94%</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8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374756130313825</c:v>
                </c:pt>
                <c:pt idx="1">
                  <c:v>0.8775326762827291</c:v>
                </c:pt>
                <c:pt idx="2">
                  <c:v>0.88776366937264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ivate Label</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49954779496991286</c:v>
                </c:pt>
                <c:pt idx="1">
                  <c:v>0.08872113421332643</c:v>
                </c:pt>
                <c:pt idx="2">
                  <c:v>0.0692101801025268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500452205030088</c:v>
                </c:pt>
                <c:pt idx="1">
                  <c:v>0.9112788657866736</c:v>
                </c:pt>
                <c:pt idx="2">
                  <c:v>0.930789819897473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76%</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7579137060362404</c:v>
                </c:pt>
                <c:pt idx="1">
                  <c:v>0.7540303705331994</c:v>
                </c:pt>
                <c:pt idx="2">
                  <c:v>0.757309659408453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2720018420568</c:v>
                </c:pt>
                <c:pt idx="1">
                  <c:v>0.16665336549882412</c:v>
                </c:pt>
                <c:pt idx="2">
                  <c:v>0.1537410734185391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3817610975572756</c:v>
                </c:pt>
                <c:pt idx="1">
                  <c:v>0.042488363811676</c:v>
                </c:pt>
                <c:pt idx="2">
                  <c:v>0.030019717025709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1190165787463995</c:v>
                </c:pt>
                <c:pt idx="1">
                  <c:v>0.03682790015630039</c:v>
                </c:pt>
                <c:pt idx="2">
                  <c:v>0.058929550147298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393430366093059</c:v>
                </c:pt>
                <c:pt idx="1">
                  <c:v>0.6284256490373172</c:v>
                </c:pt>
                <c:pt idx="2">
                  <c:v>0.72145740015991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9431352650529796</c:v>
                </c:pt>
                <c:pt idx="1">
                  <c:v>0.1490308257563627</c:v>
                </c:pt>
                <c:pt idx="2">
                  <c:v>0.156109145423319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Universal Razor In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923498030076326</c:v>
                </c:pt>
                <c:pt idx="1">
                  <c:v>0.07856132044851627</c:v>
                </c:pt>
                <c:pt idx="2">
                  <c:v>0.0665815527068471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7399363387776352</c:v>
                </c:pt>
                <c:pt idx="1">
                  <c:v>0.14398220475780382</c:v>
                </c:pt>
                <c:pt idx="2">
                  <c:v>0.05585190170991409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93%</a:t>
                    </a:r>
                  </a:p>
                </c:rich>
              </c:tx>
              <c:showLegendKey val="0"/>
              <c:showVal val="1"/>
              <c:showCatName val="0"/>
              <c:showSerName val="0"/>
              <c:showPercent val="0"/>
              <c:showBubbleSize val="0"/>
            </c:dLbl>
            <c:dLbl>
              <c:idx val="1"/>
              <c:tx>
                <c:rich>
                  <a:bodyPr/>
                  <a:lstStyle/>
                  <a:p>
                    <a:r>
                      <a:rPr sz="800">
                        <a:solidFill>
                          <a:srgbClr val="FFFFFF"/>
                        </a:solidFill>
                        <a:latin typeface="Nexa Book"/>
                      </a:rPr>
                      <a:t>98%</a:t>
                    </a:r>
                  </a:p>
                </c:rich>
              </c:tx>
              <c:showLegendKey val="0"/>
              <c:showVal val="1"/>
              <c:showCatName val="0"/>
              <c:showSerName val="0"/>
              <c:showPercent val="0"/>
              <c:showBubbleSize val="0"/>
            </c:dLbl>
            <c:dLbl>
              <c:idx val="2"/>
              <c:tx>
                <c:rich>
                  <a:bodyPr/>
                  <a:lstStyle/>
                  <a:p>
                    <a:r>
                      <a:rPr sz="800">
                        <a:solidFill>
                          <a:srgbClr val="FFFFFF"/>
                        </a:solidFill>
                        <a:latin typeface="Nexa Book"/>
                      </a:rPr>
                      <a:t>9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343118050614453</c:v>
                </c:pt>
                <c:pt idx="1">
                  <c:v>0.9812408052755626</c:v>
                </c:pt>
                <c:pt idx="2">
                  <c:v>0.95617078171730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6403684658931591</c:v>
                </c:pt>
                <c:pt idx="1">
                  <c:v>0.017613946981984378</c:v>
                </c:pt>
                <c:pt idx="2">
                  <c:v>0.0432831058308737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16513483492388021</c:v>
                </c:pt>
                <c:pt idx="1">
                  <c:v>0.0011452477424529993</c:v>
                </c:pt>
                <c:pt idx="2">
                  <c:v>0.00054611245182125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006536907552077</c:v>
                </c:pt>
                <c:pt idx="1">
                  <c:v>0.977862681547061</c:v>
                </c:pt>
                <c:pt idx="2">
                  <c:v>0.955826994369230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8886382819664598</c:v>
                </c:pt>
                <c:pt idx="1">
                  <c:v>0.016284225487147305</c:v>
                </c:pt>
                <c:pt idx="2">
                  <c:v>0.0422854929969199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0482481048146239</c:v>
                </c:pt>
                <c:pt idx="1">
                  <c:v>0.005853092965791634</c:v>
                </c:pt>
                <c:pt idx="2">
                  <c:v>0.0018875126338497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686002348876081</c:v>
                </c:pt>
                <c:pt idx="1">
                  <c:v>0.5224451841075067</c:v>
                </c:pt>
                <c:pt idx="2">
                  <c:v>0.502962299762268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067099719350518</c:v>
                </c:pt>
                <c:pt idx="1">
                  <c:v>0.3217739157896455</c:v>
                </c:pt>
                <c:pt idx="2">
                  <c:v>0.330539605397401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5054802471606019</c:v>
                </c:pt>
                <c:pt idx="1">
                  <c:v>0.1557124026668641</c:v>
                </c:pt>
                <c:pt idx="2">
                  <c:v>0.166458901584509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18074320282650684</c:v>
                </c:pt>
                <c:pt idx="1">
                  <c:v>6.849743598365645e-05</c:v>
                </c:pt>
                <c:pt idx="2">
                  <c:v>3.919325582050469e-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988751842511291</c:v>
                </c:pt>
                <c:pt idx="1">
                  <c:v>0.4244669529837651</c:v>
                </c:pt>
                <c:pt idx="2">
                  <c:v>0.38445155359626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875189690276798</c:v>
                </c:pt>
                <c:pt idx="1">
                  <c:v>0.3559882399800055</c:v>
                </c:pt>
                <c:pt idx="2">
                  <c:v>0.380391182690210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Harry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1319718542235888</c:v>
                </c:pt>
                <c:pt idx="1">
                  <c:v>0.21938778303840553</c:v>
                </c:pt>
                <c:pt idx="2">
                  <c:v>0.235112120459351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408661298832215</c:v>
                </c:pt>
                <c:pt idx="1">
                  <c:v>0.00015702399782391942</c:v>
                </c:pt>
                <c:pt idx="2">
                  <c:v>4.514325417291379e-0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54181739148082</c:v>
                </c:pt>
                <c:pt idx="1">
                  <c:v>0.4585116219032779</c:v>
                </c:pt>
                <c:pt idx="2">
                  <c:v>0.4916987151130541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448129213211897</c:v>
                </c:pt>
                <c:pt idx="1">
                  <c:v>0.43617471874497543</c:v>
                </c:pt>
                <c:pt idx="2">
                  <c:v>0.420081022497286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866015466757544</c:v>
                </c:pt>
                <c:pt idx="1">
                  <c:v>0.10427037711734491</c:v>
                </c:pt>
                <c:pt idx="2">
                  <c:v>0.0874268142395027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11086049302666769</c:v>
                </c:pt>
                <c:pt idx="1">
                  <c:v>0.0010430514261311257</c:v>
                </c:pt>
                <c:pt idx="2">
                  <c:v>0.0007934481501562039</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451661599448299e-07</c:v>
                </c:pt>
                <c:pt idx="1">
                  <c:v>2.3080827065662615e-07</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1516729236402247</c:v>
                </c:pt>
                <c:pt idx="1">
                  <c:v>0.1645346536782836</c:v>
                </c:pt>
                <c:pt idx="2">
                  <c:v>0.1744963555104390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104753149687129</c:v>
                </c:pt>
                <c:pt idx="1">
                  <c:v>0.6385270491248385</c:v>
                </c:pt>
                <c:pt idx="2">
                  <c:v>0.65956667840544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23686034961012858</c:v>
                </c:pt>
                <c:pt idx="1">
                  <c:v>0.196082943790189</c:v>
                </c:pt>
                <c:pt idx="2">
                  <c:v>0.165313884831705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09909975189494676</c:v>
                </c:pt>
                <c:pt idx="1">
                  <c:v>0.0008549379374493952</c:v>
                </c:pt>
                <c:pt idx="2">
                  <c:v>0.000623081252414613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4.142619843447319e-07</c:v>
                </c:pt>
                <c:pt idx="1">
                  <c:v>4.154692395128843e-07</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70%</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6680395774620274</c:v>
                </c:pt>
                <c:pt idx="1">
                  <c:v>0.6975177504325974</c:v>
                </c:pt>
                <c:pt idx="2">
                  <c:v>0.71668098008644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5620184082516306</c:v>
                </c:pt>
                <c:pt idx="1">
                  <c:v>0.2305523259612196</c:v>
                </c:pt>
                <c:pt idx="2">
                  <c:v>0.205874996601282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6554194742445742</c:v>
                </c:pt>
                <c:pt idx="1">
                  <c:v>0.0675867356278111</c:v>
                </c:pt>
                <c:pt idx="2">
                  <c:v>0.077126909835069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10215743106534277</c:v>
                </c:pt>
                <c:pt idx="1">
                  <c:v>0.004341195199476137</c:v>
                </c:pt>
                <c:pt idx="2">
                  <c:v>0.0003167529502744736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8.911818179070665e-07</c:v>
                </c:pt>
                <c:pt idx="1">
                  <c:v>1.9927788957136494e-06</c:v>
                </c:pt>
                <c:pt idx="2">
                  <c:v>3.6052692813181107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5260986989178638</c:v>
                </c:pt>
                <c:pt idx="1">
                  <c:v>0.5605506895103031</c:v>
                </c:pt>
                <c:pt idx="2">
                  <c:v>0.568772393791841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35257245295063216</c:v>
                </c:pt>
                <c:pt idx="1">
                  <c:v>0.3215276309604784</c:v>
                </c:pt>
                <c:pt idx="2">
                  <c:v>0.30039806214534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1189454525895873</c:v>
                </c:pt>
                <c:pt idx="1">
                  <c:v>0.11384107995158209</c:v>
                </c:pt>
                <c:pt idx="2">
                  <c:v>0.1301142289601115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943180679943199</c:v>
                </c:pt>
                <c:pt idx="1">
                  <c:v>0.004075698467037499</c:v>
                </c:pt>
                <c:pt idx="2">
                  <c:v>0.000714252559749866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2.496073113363267e-06</c:v>
                </c:pt>
                <c:pt idx="1">
                  <c:v>4.901110598895821e-06</c:v>
                </c:pt>
                <c:pt idx="2">
                  <c:v>1.0625429560951658e-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9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3347544805365046</c:v>
                </c:pt>
                <c:pt idx="1">
                  <c:v>0.614029231518004</c:v>
                </c:pt>
                <c:pt idx="2">
                  <c:v>0.979609513291072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6652450321573337</c:v>
                </c:pt>
                <c:pt idx="1">
                  <c:v>0.38597076848199596</c:v>
                </c:pt>
                <c:pt idx="2">
                  <c:v>0.02039048670892778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4.873061617914934e-07</c:v>
                </c:pt>
                <c:pt idx="1">
                  <c:v>0.0</c:v>
                </c:pt>
                <c:pt idx="2">
                  <c:v>0.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3</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6.402225</c:v>
                </c:pt>
                <c:pt idx="1">
                  <c:v>15.27371</c:v>
                </c:pt>
                <c:pt idx="2">
                  <c:v>10.05692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6</a:t>
                    </a:r>
                  </a:p>
                </c:rich>
              </c:tx>
              <c:showLegendKey val="0"/>
              <c:showVal val="1"/>
              <c:showCatName val="0"/>
              <c:showSerName val="0"/>
              <c:showPercent val="0"/>
              <c:showBubbleSize val="0"/>
            </c:dLbl>
            <c:dLbl>
              <c:idx val="2"/>
              <c:tx>
                <c:rich>
                  <a:bodyPr/>
                  <a:lstStyle/>
                  <a:p>
                    <a:r>
                      <a:rPr>
                        <a:solidFill>
                          <a:srgbClr val="FFFFFF"/>
                        </a:solidFill>
                      </a:rPr>
                      <a:t>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11.589743</c:v>
                </c:pt>
                <c:pt idx="1">
                  <c:v>12.624718</c:v>
                </c:pt>
                <c:pt idx="2">
                  <c:v>8.56532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3.306154</c:v>
                </c:pt>
                <c:pt idx="1">
                  <c:v>3.396343</c:v>
                </c:pt>
                <c:pt idx="2">
                  <c:v>2.5414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20082</c:v>
                </c:pt>
                <c:pt idx="1">
                  <c:v>0.604113</c:v>
                </c:pt>
                <c:pt idx="2">
                  <c:v>0.84862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2e-05</c:v>
                </c:pt>
                <c:pt idx="1">
                  <c:v>8e-06</c:v>
                </c:pt>
                <c:pt idx="2">
                  <c:v>4e-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016341743322490346</c:v>
                </c:pt>
                <c:pt idx="1">
                  <c:v>0.5463210319874409</c:v>
                </c:pt>
                <c:pt idx="2">
                  <c:v>0.9446597870664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9836575478311783</c:v>
                </c:pt>
                <c:pt idx="1">
                  <c:v>0.4536789680125591</c:v>
                </c:pt>
                <c:pt idx="2">
                  <c:v>0.0553402129335119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7.088463313303699e-07</c:v>
                </c:pt>
                <c:pt idx="1">
                  <c:v>0.0</c:v>
                </c:pt>
                <c:pt idx="2">
                  <c:v>0.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60%</a:t>
                    </a:r>
                  </a:p>
                </c:rich>
              </c:tx>
              <c:showLegendKey val="0"/>
              <c:showVal val="1"/>
              <c:showCatName val="0"/>
              <c:showSerName val="0"/>
              <c:showPercent val="0"/>
              <c:showBubbleSize val="0"/>
            </c:dLbl>
            <c:dLbl>
              <c:idx val="2"/>
              <c:tx>
                <c:rich>
                  <a:bodyPr/>
                  <a:lstStyle/>
                  <a:p>
                    <a:r>
                      <a:rPr sz="800">
                        <a:solidFill>
                          <a:srgbClr val="FFFFFF"/>
                        </a:solidFill>
                        <a:latin typeface="Nexa Book"/>
                      </a:rPr>
                      <a:t>7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9044699893394594</c:v>
                </c:pt>
                <c:pt idx="1">
                  <c:v>0.5966445545744488</c:v>
                </c:pt>
                <c:pt idx="2">
                  <c:v>0.73364666692192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46%</a:t>
                    </a:r>
                  </a:p>
                </c:rich>
              </c:tx>
              <c:showLegendKey val="0"/>
              <c:showVal val="1"/>
              <c:showCatName val="0"/>
              <c:showSerName val="0"/>
              <c:showPercent val="0"/>
              <c:showBubbleSize val="0"/>
            </c:dLbl>
            <c:dLbl>
              <c:idx val="1"/>
              <c:tx>
                <c:rich>
                  <a:bodyPr/>
                  <a:lstStyle/>
                  <a:p>
                    <a:r>
                      <a:rPr sz="800">
                        <a:solidFill>
                          <a:srgbClr val="FFFFFF"/>
                        </a:solidFill>
                        <a:latin typeface="Nexa Book"/>
                      </a:rPr>
                      <a:t>38%</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45944085879329294</c:v>
                </c:pt>
                <c:pt idx="1">
                  <c:v>0.37801711782033487</c:v>
                </c:pt>
                <c:pt idx="2">
                  <c:v>0.26204651185051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4755063756642178</c:v>
                </c:pt>
                <c:pt idx="1">
                  <c:v>0.023130495111364942</c:v>
                </c:pt>
                <c:pt idx="2">
                  <c:v>0.00269245127694605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25615047063393026</c:v>
                </c:pt>
                <c:pt idx="1">
                  <c:v>0.0022078324938513893</c:v>
                </c:pt>
                <c:pt idx="2">
                  <c:v>0.001614369950606884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2001939887833434</c:v>
                </c:pt>
                <c:pt idx="1">
                  <c:v>0.21237452029422282</c:v>
                </c:pt>
                <c:pt idx="2">
                  <c:v>0.267306892759731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ic</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7831794408127034</c:v>
                </c:pt>
                <c:pt idx="1">
                  <c:v>0.7765564515529929</c:v>
                </c:pt>
                <c:pt idx="2">
                  <c:v>0.727066737721391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1202264123258174</c:v>
                </c:pt>
                <c:pt idx="1">
                  <c:v>0.006545962818325668</c:v>
                </c:pt>
                <c:pt idx="2">
                  <c:v>0.001056002318532823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04603929171371462</c:v>
                </c:pt>
                <c:pt idx="1">
                  <c:v>0.004523065334458598</c:v>
                </c:pt>
                <c:pt idx="2">
                  <c:v>0.0045703672003445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a:solidFill>
                          <a:srgbClr val="FFFFFF"/>
                        </a:solidFill>
                      </a:rPr>
                      <a:t>53.6</a:t>
                    </a:r>
                  </a:p>
                </c:rich>
              </c:tx>
              <c:showLegendKey val="0"/>
              <c:showVal val="1"/>
              <c:showCatName val="0"/>
              <c:showSerName val="0"/>
              <c:showPercent val="0"/>
              <c:showBubbleSize val="0"/>
            </c:dLbl>
            <c:dLbl>
              <c:idx val="1"/>
              <c:tx>
                <c:rich>
                  <a:bodyPr/>
                  <a:lstStyle/>
                  <a:p>
                    <a:r>
                      <a:rPr>
                        <a:solidFill>
                          <a:srgbClr val="FFFFFF"/>
                        </a:solidFill>
                      </a:rPr>
                      <a:t>50.3</a:t>
                    </a:r>
                  </a:p>
                </c:rich>
              </c:tx>
              <c:showLegendKey val="0"/>
              <c:showVal val="1"/>
              <c:showCatName val="0"/>
              <c:showSerName val="0"/>
              <c:showPercent val="0"/>
              <c:showBubbleSize val="0"/>
            </c:dLbl>
            <c:dLbl>
              <c:idx val="2"/>
              <c:tx>
                <c:rich>
                  <a:bodyPr/>
                  <a:lstStyle/>
                  <a:p>
                    <a:r>
                      <a:rPr>
                        <a:solidFill>
                          <a:srgbClr val="FFFFFF"/>
                        </a:solidFill>
                      </a:rPr>
                      <a:t>3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53.55669</c:v>
                </c:pt>
                <c:pt idx="1">
                  <c:v>50.306923</c:v>
                </c:pt>
                <c:pt idx="2">
                  <c:v>33.8412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Edgewell</c:v>
                </c:pt>
              </c:strCache>
            </c:strRef>
          </c:tx>
          <c:spPr>
            <a:solidFill>
              <a:srgbClr val="006C6D"/>
            </a:solidFill>
            <a:ln>
              <a:solidFill>
                <a:schemeClr val="bg1"/>
              </a:solidFill>
            </a:ln>
            <a:effectLst/>
          </c:spPr>
          <c:invertIfNegative val="0"/>
          <c:dLbls>
            <c:dLbl>
              <c:idx val="0"/>
              <c:tx>
                <c:rich>
                  <a:bodyPr/>
                  <a:lstStyle/>
                  <a:p>
                    <a:r>
                      <a:rPr>
                        <a:solidFill>
                          <a:srgbClr val="FFFFFF"/>
                        </a:solidFill>
                      </a:rPr>
                      <a:t>37.7</a:t>
                    </a:r>
                  </a:p>
                </c:rich>
              </c:tx>
              <c:showLegendKey val="0"/>
              <c:showVal val="1"/>
              <c:showCatName val="0"/>
              <c:showSerName val="0"/>
              <c:showPercent val="0"/>
              <c:showBubbleSize val="0"/>
            </c:dLbl>
            <c:dLbl>
              <c:idx val="1"/>
              <c:tx>
                <c:rich>
                  <a:bodyPr/>
                  <a:lstStyle/>
                  <a:p>
                    <a:r>
                      <a:rPr>
                        <a:solidFill>
                          <a:srgbClr val="FFFFFF"/>
                        </a:solidFill>
                      </a:rPr>
                      <a:t>40.4</a:t>
                    </a:r>
                  </a:p>
                </c:rich>
              </c:tx>
              <c:showLegendKey val="0"/>
              <c:showVal val="1"/>
              <c:showCatName val="0"/>
              <c:showSerName val="0"/>
              <c:showPercent val="0"/>
              <c:showBubbleSize val="0"/>
            </c:dLbl>
            <c:dLbl>
              <c:idx val="2"/>
              <c:tx>
                <c:rich>
                  <a:bodyPr/>
                  <a:lstStyle/>
                  <a:p>
                    <a:r>
                      <a:rPr>
                        <a:solidFill>
                          <a:srgbClr val="FFFFFF"/>
                        </a:solidFill>
                      </a:rPr>
                      <a:t>2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37.720028</c:v>
                </c:pt>
                <c:pt idx="1">
                  <c:v>40.385192</c:v>
                </c:pt>
                <c:pt idx="2">
                  <c:v>26.2227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bg</c:v>
                </c:pt>
              </c:strCache>
            </c:strRef>
          </c:tx>
          <c:spPr>
            <a:solidFill>
              <a:srgbClr val="A6A6A6"/>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5.323332</c:v>
                </c:pt>
                <c:pt idx="1">
                  <c:v>5.503198</c:v>
                </c:pt>
                <c:pt idx="2">
                  <c:v>4.09649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Harrys</c:v>
                </c:pt>
              </c:strCache>
            </c:strRef>
          </c:tx>
          <c:spPr>
            <a:solidFill>
              <a:srgbClr val="9B9898"/>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047463</c:v>
                </c:pt>
                <c:pt idx="1">
                  <c:v>1.393962</c:v>
                </c:pt>
                <c:pt idx="2">
                  <c:v>1.97982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1.1e-05</c:v>
                </c:pt>
                <c:pt idx="1">
                  <c:v>8e-06</c:v>
                </c:pt>
                <c:pt idx="2">
                  <c:v>4e-0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3244560311152735</c:v>
                </c:pt>
                <c:pt idx="1">
                  <c:v>0.43628875472288964</c:v>
                </c:pt>
                <c:pt idx="2">
                  <c:v>0.415179607750157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17983632421304852</c:v>
                </c:pt>
                <c:pt idx="1">
                  <c:v>0.1642717476602241</c:v>
                </c:pt>
                <c:pt idx="2">
                  <c:v>0.153858667539156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12126755929028829</c:v>
                </c:pt>
                <c:pt idx="1">
                  <c:v>0.20467153665633395</c:v>
                </c:pt>
                <c:pt idx="2">
                  <c:v>0.105182169341279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715892581437141</c:v>
                </c:pt>
                <c:pt idx="1">
                  <c:v>0.035430200024977494</c:v>
                </c:pt>
                <c:pt idx="2">
                  <c:v>0.001206898487616756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4581184034017566</c:v>
                </c:pt>
                <c:pt idx="1">
                  <c:v>0.061233067963010944</c:v>
                </c:pt>
                <c:pt idx="2">
                  <c:v>0.051295013566510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942411984799659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4051110717389287</c:v>
                </c:pt>
                <c:pt idx="1">
                  <c:v>0.030578042547480536</c:v>
                </c:pt>
                <c:pt idx="2">
                  <c:v>0.0162082654529094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36572257797801346</c:v>
                </c:pt>
                <c:pt idx="1">
                  <c:v>0.030627065536093408</c:v>
                </c:pt>
                <c:pt idx="2">
                  <c:v>0.02686641680926016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048810819475731265</c:v>
                </c:pt>
                <c:pt idx="1">
                  <c:v>0.03689958488898996</c:v>
                </c:pt>
                <c:pt idx="2">
                  <c:v>0.0359617625731430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4074614609728132</c:v>
                </c:pt>
                <c:pt idx="1">
                  <c:v>0.3814401053968989</c:v>
                </c:pt>
                <c:pt idx="2">
                  <c:v>0.3518080432578573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Universal Razor Ind</c:v>
                </c:pt>
              </c:strCache>
            </c:strRef>
          </c:tx>
          <c:spPr>
            <a:solidFill>
              <a:srgbClr val="BFBFB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22537834466920476</c:v>
                </c:pt>
                <c:pt idx="1">
                  <c:v>0.21115322957946472</c:v>
                </c:pt>
                <c:pt idx="2">
                  <c:v>0.195836807475525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Revlon Inc</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7358419033863348</c:v>
                </c:pt>
                <c:pt idx="1">
                  <c:v>0.13022275208176642</c:v>
                </c:pt>
                <c:pt idx="2">
                  <c:v>0.0779076806481153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hurch &amp; Dwight Co In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E$2:$E$4</c:f>
              <c:numCache>
                <c:formatCode>General</c:formatCode>
                <c:ptCount val="3"/>
                <c:pt idx="0">
                  <c:v>0.16728818947303087</c:v>
                </c:pt>
                <c:pt idx="1">
                  <c:v>0.02572010508712236</c:v>
                </c:pt>
                <c:pt idx="2">
                  <c:v>0.000829091016590554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lio Design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F$2:$F$4</c:f>
              <c:numCache>
                <c:formatCode>General</c:formatCode>
                <c:ptCount val="3"/>
                <c:pt idx="0">
                  <c:v>0.05238783023117126</c:v>
                </c:pt>
                <c:pt idx="1">
                  <c:v>0.07451537060886115</c:v>
                </c:pt>
                <c:pt idx="2">
                  <c:v>0.0587109314373979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Harry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G$2:$G$4</c:f>
              <c:numCache>
                <c:formatCode>General</c:formatCode>
                <c:ptCount val="3"/>
                <c:pt idx="0">
                  <c:v>0.0</c:v>
                </c:pt>
                <c:pt idx="1">
                  <c:v>0.0</c:v>
                </c:pt>
                <c:pt idx="2">
                  <c:v>0.150550566153602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American Intl Ind</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H$2:$H$4</c:f>
              <c:numCache>
                <c:formatCode>General</c:formatCode>
                <c:ptCount val="3"/>
                <c:pt idx="0">
                  <c:v>0.056124096548241825</c:v>
                </c:pt>
                <c:pt idx="1">
                  <c:v>0.04176106118495889</c:v>
                </c:pt>
                <c:pt idx="2">
                  <c:v>0.02322462655630932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Japonesqu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I$2:$I$4</c:f>
              <c:numCache>
                <c:formatCode>General</c:formatCode>
                <c:ptCount val="3"/>
                <c:pt idx="0">
                  <c:v>0.0021271009945203665</c:v>
                </c:pt>
                <c:pt idx="1">
                  <c:v>0.017511938923007328</c:v>
                </c:pt>
                <c:pt idx="2">
                  <c:v>0.0160953844355294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J$2:$J$4</c:f>
              <c:numCache>
                <c:formatCode>General</c:formatCode>
                <c:ptCount val="3"/>
                <c:pt idx="0">
                  <c:v>0.015648786772384255</c:v>
                </c:pt>
                <c:pt idx="1">
                  <c:v>0.11767543713792024</c:v>
                </c:pt>
                <c:pt idx="2">
                  <c:v>0.1250368690190724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98%</a:t>
                    </a:r>
                  </a:p>
                </c:rich>
              </c:tx>
              <c:showLegendKey val="0"/>
              <c:showVal val="1"/>
              <c:showCatName val="0"/>
              <c:showSerName val="0"/>
              <c:showPercent val="0"/>
              <c:showBubbleSize val="0"/>
            </c:dLbl>
            <c:dLbl>
              <c:idx val="2"/>
              <c:tx>
                <c:rich>
                  <a:bodyPr/>
                  <a:lstStyle/>
                  <a:p>
                    <a:r>
                      <a:rPr sz="800">
                        <a:solidFill>
                          <a:srgbClr val="FFFFFF"/>
                        </a:solidFill>
                        <a:latin typeface="Nexa Book"/>
                      </a:rPr>
                      <a:t>9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85948317690068</c:v>
                </c:pt>
                <c:pt idx="1">
                  <c:v>0.9779264670573363</c:v>
                </c:pt>
                <c:pt idx="2">
                  <c:v>0.97686128478456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5134112065760029</c:v>
                </c:pt>
                <c:pt idx="1">
                  <c:v>5.2751550800423206e-05</c:v>
                </c:pt>
                <c:pt idx="2">
                  <c:v>0.0</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08917570244172729</c:v>
                </c:pt>
                <c:pt idx="1">
                  <c:v>0.022020781391863264</c:v>
                </c:pt>
                <c:pt idx="2">
                  <c:v>0.0231387152154343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rocter &amp; Gamble</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0.9944888429892663</c:v>
                </c:pt>
                <c:pt idx="1">
                  <c:v>0.9907945057699327</c:v>
                </c:pt>
                <c:pt idx="2">
                  <c:v>0.986190836766680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Edgewel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C$2:$C$4</c:f>
              <c:numCache>
                <c:formatCode>General</c:formatCode>
                <c:ptCount val="3"/>
                <c:pt idx="0">
                  <c:v>0.0009254644834991524</c:v>
                </c:pt>
                <c:pt idx="1">
                  <c:v>0.00013389636516636028</c:v>
                </c:pt>
                <c:pt idx="2">
                  <c:v>0.0</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D$2:$D$4</c:f>
              <c:numCache>
                <c:formatCode>General</c:formatCode>
                <c:ptCount val="3"/>
                <c:pt idx="0">
                  <c:v>0.004585692527234554</c:v>
                </c:pt>
                <c:pt idx="1">
                  <c:v>0.00907159786490095</c:v>
                </c:pt>
                <c:pt idx="2">
                  <c:v>0.0138091632333198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D9D9D9"/>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2</c:v>
                </c:pt>
                <c:pt idx="1">
                  <c:v>2023</c:v>
                </c:pt>
                <c:pt idx="2">
                  <c:v>2024</c:v>
                </c:pt>
              </c:strCache>
            </c:strRef>
          </c:cat>
          <c:val>
            <c:numRef>
              <c:f>Sheet1!$B$2:$B$4</c:f>
              <c:numCache>
                <c:formatCode>General</c:formatCode>
                <c:ptCount val="3"/>
                <c:pt idx="0">
                  <c:v>1</c:v>
                </c:pt>
                <c:pt idx="1">
                  <c:v>0</c:v>
                </c:pt>
                <c:pt idx="2">
                  <c:v>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2/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1.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2.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8.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2.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9.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0.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3.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6.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0.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7.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2.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5.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8.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2.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7.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4.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0.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4.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7.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1.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5.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3.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9.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3.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2.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3.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9.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4.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6.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1.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8.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1.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5.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8.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3.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9.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0.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3.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6.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0.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7.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9.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2.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5.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8.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2.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9.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4.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8.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3.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0.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3.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4.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7.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0.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5.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7.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2.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9.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2.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3.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9.xml"/></Relationships>
</file>

<file path=ppt/notesSlides/_rels/notesSlide3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3.xml"/></Relationships>
</file>

<file path=ppt/notesSlides/_rels/notesSlide3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4.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6.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0.xml"/></Relationships>
</file>

<file path=ppt/notesSlides/_rels/notesSlide3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1.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4.xml"/></Relationships>
</file>

<file path=ppt/notesSlides/_rels/notesSlide3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5.xml"/></Relationships>
</file>

<file path=ppt/notesSlides/_rels/notesSlide3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6.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7.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9.xml"/></Relationships>
</file>

<file path=ppt/notesSlides/_rels/notesSlide3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1.xml"/></Relationships>
</file>

<file path=ppt/notesSlides/_rels/notesSlide3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5.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8.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4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2.xml"/></Relationships>
</file>

<file path=ppt/notesSlides/_rels/notesSlide4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4.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1.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7.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3.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0.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5.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 Id="rId6" Type="http://schemas.openxmlformats.org/officeDocument/2006/relationships/chart" Target="../charts/chart200.xml"/></Relationships>
</file>

<file path=ppt/slides/_rels/slide1002.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03.xml"/><Relationship Id="rId7" Type="http://schemas.openxmlformats.org/officeDocument/2006/relationships/chart" Target="../charts/chart2004.xml"/></Relationships>
</file>

<file path=ppt/slides/_rels/slide1003.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05.xml"/><Relationship Id="rId7" Type="http://schemas.openxmlformats.org/officeDocument/2006/relationships/chart" Target="../charts/chart2006.xml"/></Relationships>
</file>

<file path=ppt/slides/_rels/slide1009.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17.xml"/><Relationship Id="rId7" Type="http://schemas.openxmlformats.org/officeDocument/2006/relationships/chart" Target="../charts/chart2018.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 Id="rId6" Type="http://schemas.openxmlformats.org/officeDocument/2006/relationships/chart" Target="../charts/chart202.xml"/></Relationships>
</file>

<file path=ppt/slides/_rels/slide1013.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25.xml"/><Relationship Id="rId7" Type="http://schemas.openxmlformats.org/officeDocument/2006/relationships/chart" Target="../charts/chart2026.xml"/></Relationships>
</file>

<file path=ppt/slides/_rels/slide1014.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27.xml"/><Relationship Id="rId7" Type="http://schemas.openxmlformats.org/officeDocument/2006/relationships/chart" Target="../charts/chart2028.xml"/></Relationships>
</file>

<file path=ppt/slides/_rels/slide1016.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31.xml"/><Relationship Id="rId7" Type="http://schemas.openxmlformats.org/officeDocument/2006/relationships/chart" Target="../charts/chart2032.xml"/></Relationships>
</file>

<file path=ppt/slides/_rels/slide1020.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39.xml"/><Relationship Id="rId7" Type="http://schemas.openxmlformats.org/officeDocument/2006/relationships/chart" Target="../charts/chart2040.xml"/></Relationships>
</file>

<file path=ppt/slides/_rels/slide1021.xml.rels><?xml version='1.0' encoding='UTF-8' standalone='yes'?>
<Relationships xmlns="http://schemas.openxmlformats.org/package/2006/relationships"><Relationship Id="rId1" Type="http://schemas.openxmlformats.org/officeDocument/2006/relationships/tags" Target="../tags/tag582.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41.xml"/><Relationship Id="rId7" Type="http://schemas.openxmlformats.org/officeDocument/2006/relationships/chart" Target="../charts/chart2042.xml"/></Relationships>
</file>

<file path=ppt/slides/_rels/slide1024.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47.xml"/><Relationship Id="rId7" Type="http://schemas.openxmlformats.org/officeDocument/2006/relationships/chart" Target="../charts/chart2048.xml"/></Relationships>
</file>

<file path=ppt/slides/_rels/slide1025.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49.xml"/><Relationship Id="rId7" Type="http://schemas.openxmlformats.org/officeDocument/2006/relationships/chart" Target="../charts/chart2050.xml"/></Relationships>
</file>

<file path=ppt/slides/_rels/slide1026.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51.xml"/><Relationship Id="rId7" Type="http://schemas.openxmlformats.org/officeDocument/2006/relationships/chart" Target="../charts/chart2052.xml"/></Relationships>
</file>

<file path=ppt/slides/_rels/slide1027.xml.rels><?xml version='1.0' encoding='UTF-8' standalone='yes'?>
<Relationships xmlns="http://schemas.openxmlformats.org/package/2006/relationships"><Relationship Id="rId1" Type="http://schemas.openxmlformats.org/officeDocument/2006/relationships/tags" Target="../tags/tag588.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53.xml"/><Relationship Id="rId7" Type="http://schemas.openxmlformats.org/officeDocument/2006/relationships/chart" Target="../charts/chart2054.xml"/></Relationships>
</file>

<file path=ppt/slides/_rels/slide1028.xml.rels><?xml version='1.0' encoding='UTF-8' standalone='yes'?>
<Relationships xmlns="http://schemas.openxmlformats.org/package/2006/relationships"><Relationship Id="rId1" Type="http://schemas.openxmlformats.org/officeDocument/2006/relationships/tags" Target="../tags/tag589.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55.xml"/><Relationship Id="rId7" Type="http://schemas.openxmlformats.org/officeDocument/2006/relationships/chart" Target="../charts/chart2056.xml"/></Relationships>
</file>

<file path=ppt/slides/_rels/slide1031.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61.xml"/><Relationship Id="rId7" Type="http://schemas.openxmlformats.org/officeDocument/2006/relationships/chart" Target="../charts/chart2062.xml"/></Relationships>
</file>

<file path=ppt/slides/_rels/slide1035.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69.xml"/><Relationship Id="rId7" Type="http://schemas.openxmlformats.org/officeDocument/2006/relationships/chart" Target="../charts/chart2070.xml"/></Relationships>
</file>

<file path=ppt/slides/_rels/slide1038.xml.rels><?xml version='1.0' encoding='UTF-8' standalone='yes'?>
<Relationships xmlns="http://schemas.openxmlformats.org/package/2006/relationships"><Relationship Id="rId1" Type="http://schemas.openxmlformats.org/officeDocument/2006/relationships/tags" Target="../tags/tag599.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75.xml"/><Relationship Id="rId7" Type="http://schemas.openxmlformats.org/officeDocument/2006/relationships/chart" Target="../charts/chart2076.xml"/></Relationships>
</file>

<file path=ppt/slides/_rels/slide1042.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83.xml"/><Relationship Id="rId7" Type="http://schemas.openxmlformats.org/officeDocument/2006/relationships/chart" Target="../charts/chart2084.xml"/></Relationships>
</file>

<file path=ppt/slides/_rels/slide1043.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85.xml"/><Relationship Id="rId7" Type="http://schemas.openxmlformats.org/officeDocument/2006/relationships/chart" Target="../charts/chart2086.xml"/></Relationships>
</file>

<file path=ppt/slides/_rels/slide1049.xml.rels><?xml version='1.0' encoding='UTF-8' standalone='yes'?>
<Relationships xmlns="http://schemas.openxmlformats.org/package/2006/relationships"><Relationship Id="rId1" Type="http://schemas.openxmlformats.org/officeDocument/2006/relationships/tags" Target="../tags/tag610.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97.xml"/><Relationship Id="rId7" Type="http://schemas.openxmlformats.org/officeDocument/2006/relationships/chart" Target="../charts/chart209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 Id="rId6" Type="http://schemas.openxmlformats.org/officeDocument/2006/relationships/chart" Target="../charts/chart210.xml"/></Relationships>
</file>

<file path=ppt/slides/_rels/slide1050.xml.rels><?xml version='1.0' encoding='UTF-8' standalone='yes'?>
<Relationships xmlns="http://schemas.openxmlformats.org/package/2006/relationships"><Relationship Id="rId1" Type="http://schemas.openxmlformats.org/officeDocument/2006/relationships/tags" Target="../tags/tag611.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99.xml"/><Relationship Id="rId7" Type="http://schemas.openxmlformats.org/officeDocument/2006/relationships/chart" Target="../charts/chart2100.xml"/></Relationships>
</file>

<file path=ppt/slides/_rels/slide1053.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05.xml"/><Relationship Id="rId7" Type="http://schemas.openxmlformats.org/officeDocument/2006/relationships/chart" Target="../charts/chart2106.xml"/></Relationships>
</file>

<file path=ppt/slides/_rels/slide1056.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11.xml"/><Relationship Id="rId7" Type="http://schemas.openxmlformats.org/officeDocument/2006/relationships/chart" Target="../charts/chart2112.xml"/></Relationships>
</file>

<file path=ppt/slides/_rels/slide1060.xml.rels><?xml version='1.0' encoding='UTF-8' standalone='yes'?>
<Relationships xmlns="http://schemas.openxmlformats.org/package/2006/relationships"><Relationship Id="rId1" Type="http://schemas.openxmlformats.org/officeDocument/2006/relationships/tags" Target="../tags/tag621.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19.xml"/><Relationship Id="rId7" Type="http://schemas.openxmlformats.org/officeDocument/2006/relationships/chart" Target="../charts/chart2120.xml"/></Relationships>
</file>

<file path=ppt/slides/_rels/slide1064.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27.xml"/><Relationship Id="rId7" Type="http://schemas.openxmlformats.org/officeDocument/2006/relationships/chart" Target="../charts/chart2128.xml"/></Relationships>
</file>

<file path=ppt/slides/_rels/slide1065.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29.xml"/><Relationship Id="rId7" Type="http://schemas.openxmlformats.org/officeDocument/2006/relationships/chart" Target="../charts/chart2130.xml"/></Relationships>
</file>

<file path=ppt/slides/_rels/slide1066.xml.rels><?xml version='1.0' encoding='UTF-8' standalone='yes'?>
<Relationships xmlns="http://schemas.openxmlformats.org/package/2006/relationships"><Relationship Id="rId1" Type="http://schemas.openxmlformats.org/officeDocument/2006/relationships/tags" Target="../tags/tag627.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31.xml"/><Relationship Id="rId7" Type="http://schemas.openxmlformats.org/officeDocument/2006/relationships/chart" Target="../charts/chart2132.xml"/></Relationships>
</file>

<file path=ppt/slides/_rels/slide1067.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33.xml"/><Relationship Id="rId7" Type="http://schemas.openxmlformats.org/officeDocument/2006/relationships/chart" Target="../charts/chart2134.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 Id="rId6" Type="http://schemas.openxmlformats.org/officeDocument/2006/relationships/chart" Target="../charts/chart214.xml"/></Relationships>
</file>

<file path=ppt/slides/_rels/slide1071.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41.xml"/><Relationship Id="rId7" Type="http://schemas.openxmlformats.org/officeDocument/2006/relationships/chart" Target="../charts/chart2142.xml"/></Relationships>
</file>

<file path=ppt/slides/_rels/slide1072.xml.rels><?xml version='1.0' encoding='UTF-8' standalone='yes'?>
<Relationships xmlns="http://schemas.openxmlformats.org/package/2006/relationships"><Relationship Id="rId1" Type="http://schemas.openxmlformats.org/officeDocument/2006/relationships/tags" Target="../tags/tag633.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43.xml"/><Relationship Id="rId7" Type="http://schemas.openxmlformats.org/officeDocument/2006/relationships/chart" Target="../charts/chart2144.xml"/></Relationships>
</file>

<file path=ppt/slides/_rels/slide1075.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49.xml"/><Relationship Id="rId7" Type="http://schemas.openxmlformats.org/officeDocument/2006/relationships/chart" Target="../charts/chart2150.xml"/></Relationships>
</file>

<file path=ppt/slides/_rels/slide1077.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53.xml"/><Relationship Id="rId7" Type="http://schemas.openxmlformats.org/officeDocument/2006/relationships/chart" Target="../charts/chart2154.xml"/></Relationships>
</file>

<file path=ppt/slides/_rels/slide1078.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55.xml"/><Relationship Id="rId7" Type="http://schemas.openxmlformats.org/officeDocument/2006/relationships/chart" Target="../charts/chart2156.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 Id="rId6" Type="http://schemas.openxmlformats.org/officeDocument/2006/relationships/chart" Target="../charts/chart216.xml"/></Relationships>
</file>

<file path=ppt/slides/_rels/slide1082.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63.xml"/><Relationship Id="rId7" Type="http://schemas.openxmlformats.org/officeDocument/2006/relationships/chart" Target="../charts/chart2164.xml"/></Relationships>
</file>

<file path=ppt/slides/_rels/slide1088.xml.rels><?xml version='1.0' encoding='UTF-8' standalone='yes'?>
<Relationships xmlns="http://schemas.openxmlformats.org/package/2006/relationships"><Relationship Id="rId1" Type="http://schemas.openxmlformats.org/officeDocument/2006/relationships/tags" Target="../tags/tag649.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75.xml"/><Relationship Id="rId7" Type="http://schemas.openxmlformats.org/officeDocument/2006/relationships/chart" Target="../charts/chart2176.xml"/></Relationships>
</file>

<file path=ppt/slides/_rels/slide1089.xml.rels><?xml version='1.0' encoding='UTF-8' standalone='yes'?>
<Relationships xmlns="http://schemas.openxmlformats.org/package/2006/relationships"><Relationship Id="rId1" Type="http://schemas.openxmlformats.org/officeDocument/2006/relationships/tags" Target="../tags/tag650.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77.xml"/><Relationship Id="rId7" Type="http://schemas.openxmlformats.org/officeDocument/2006/relationships/chart" Target="../charts/chart2178.xml"/></Relationships>
</file>

<file path=ppt/slides/_rels/slide1093.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85.xml"/><Relationship Id="rId7" Type="http://schemas.openxmlformats.org/officeDocument/2006/relationships/chart" Target="../charts/chart2186.xml"/></Relationships>
</file>

<file path=ppt/slides/_rels/slide1094.xml.rels><?xml version='1.0' encoding='UTF-8' standalone='yes'?>
<Relationships xmlns="http://schemas.openxmlformats.org/package/2006/relationships"><Relationship Id="rId1" Type="http://schemas.openxmlformats.org/officeDocument/2006/relationships/tags" Target="../tags/tag655.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87.xml"/><Relationship Id="rId7" Type="http://schemas.openxmlformats.org/officeDocument/2006/relationships/chart" Target="../charts/chart2188.xml"/></Relationships>
</file>

<file path=ppt/slides/_rels/slide1098.xml.rels><?xml version='1.0' encoding='UTF-8' standalone='yes'?>
<Relationships xmlns="http://schemas.openxmlformats.org/package/2006/relationships"><Relationship Id="rId1" Type="http://schemas.openxmlformats.org/officeDocument/2006/relationships/tags" Target="../tags/tag659.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95.xml"/><Relationship Id="rId7" Type="http://schemas.openxmlformats.org/officeDocument/2006/relationships/chart" Target="../charts/chart2196.xml"/></Relationships>
</file>

<file path=ppt/slides/_rels/slide1102.xml.rels><?xml version='1.0' encoding='UTF-8' standalone='yes'?>
<Relationships xmlns="http://schemas.openxmlformats.org/package/2006/relationships"><Relationship Id="rId1" Type="http://schemas.openxmlformats.org/officeDocument/2006/relationships/tags" Target="../tags/tag663.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03.xml"/><Relationship Id="rId7" Type="http://schemas.openxmlformats.org/officeDocument/2006/relationships/chart" Target="../charts/chart2204.xml"/></Relationships>
</file>

<file path=ppt/slides/_rels/slide1103.xml.rels><?xml version='1.0' encoding='UTF-8' standalone='yes'?>
<Relationships xmlns="http://schemas.openxmlformats.org/package/2006/relationships"><Relationship Id="rId1" Type="http://schemas.openxmlformats.org/officeDocument/2006/relationships/tags" Target="../tags/tag664.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05.xml"/><Relationship Id="rId7" Type="http://schemas.openxmlformats.org/officeDocument/2006/relationships/chart" Target="../charts/chart2206.xml"/></Relationships>
</file>

<file path=ppt/slides/_rels/slide1109.xml.rels><?xml version='1.0' encoding='UTF-8' standalone='yes'?>
<Relationships xmlns="http://schemas.openxmlformats.org/package/2006/relationships"><Relationship Id="rId1" Type="http://schemas.openxmlformats.org/officeDocument/2006/relationships/tags" Target="../tags/tag670.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17.xml"/><Relationship Id="rId7" Type="http://schemas.openxmlformats.org/officeDocument/2006/relationships/chart" Target="../charts/chart2218.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 Id="rId6" Type="http://schemas.openxmlformats.org/officeDocument/2006/relationships/chart" Target="../charts/chart222.xml"/></Relationships>
</file>

<file path=ppt/slides/_rels/slide1110.xml.rels><?xml version='1.0' encoding='UTF-8' standalone='yes'?>
<Relationships xmlns="http://schemas.openxmlformats.org/package/2006/relationships"><Relationship Id="rId1" Type="http://schemas.openxmlformats.org/officeDocument/2006/relationships/tags" Target="../tags/tag671.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19.xml"/><Relationship Id="rId7" Type="http://schemas.openxmlformats.org/officeDocument/2006/relationships/chart" Target="../charts/chart2220.xml"/></Relationships>
</file>

<file path=ppt/slides/_rels/slide1113.xml.rels><?xml version='1.0' encoding='UTF-8' standalone='yes'?>
<Relationships xmlns="http://schemas.openxmlformats.org/package/2006/relationships"><Relationship Id="rId1" Type="http://schemas.openxmlformats.org/officeDocument/2006/relationships/tags" Target="../tags/tag674.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25.xml"/><Relationship Id="rId7" Type="http://schemas.openxmlformats.org/officeDocument/2006/relationships/chart" Target="../charts/chart2226.xml"/></Relationships>
</file>

<file path=ppt/slides/_rels/slide1114.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27.xml"/><Relationship Id="rId7" Type="http://schemas.openxmlformats.org/officeDocument/2006/relationships/chart" Target="../charts/chart2228.xml"/></Relationships>
</file>

<file path=ppt/slides/_rels/slide1116.xml.rels><?xml version='1.0' encoding='UTF-8' standalone='yes'?>
<Relationships xmlns="http://schemas.openxmlformats.org/package/2006/relationships"><Relationship Id="rId1" Type="http://schemas.openxmlformats.org/officeDocument/2006/relationships/tags" Target="../tags/tag677.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31.xml"/><Relationship Id="rId7" Type="http://schemas.openxmlformats.org/officeDocument/2006/relationships/chart" Target="../charts/chart2232.xml"/></Relationships>
</file>

<file path=ppt/slides/_rels/slide1117.xml.rels><?xml version='1.0' encoding='UTF-8' standalone='yes'?>
<Relationships xmlns="http://schemas.openxmlformats.org/package/2006/relationships"><Relationship Id="rId1" Type="http://schemas.openxmlformats.org/officeDocument/2006/relationships/tags" Target="../tags/tag678.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33.xml"/><Relationship Id="rId7" Type="http://schemas.openxmlformats.org/officeDocument/2006/relationships/chart" Target="../charts/chart2234.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 Id="rId6" Type="http://schemas.openxmlformats.org/officeDocument/2006/relationships/chart" Target="../charts/chart224.xml"/></Relationships>
</file>

<file path=ppt/slides/_rels/slide1120.xml.rels><?xml version='1.0' encoding='UTF-8' standalone='yes'?>
<Relationships xmlns="http://schemas.openxmlformats.org/package/2006/relationships"><Relationship Id="rId1" Type="http://schemas.openxmlformats.org/officeDocument/2006/relationships/tags" Target="../tags/tag681.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39.xml"/><Relationship Id="rId7" Type="http://schemas.openxmlformats.org/officeDocument/2006/relationships/chart" Target="../charts/chart2240.xml"/></Relationships>
</file>

<file path=ppt/slides/_rels/slide1124.xml.rels><?xml version='1.0' encoding='UTF-8' standalone='yes'?>
<Relationships xmlns="http://schemas.openxmlformats.org/package/2006/relationships"><Relationship Id="rId1" Type="http://schemas.openxmlformats.org/officeDocument/2006/relationships/tags" Target="../tags/tag685.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47.xml"/><Relationship Id="rId7" Type="http://schemas.openxmlformats.org/officeDocument/2006/relationships/chart" Target="../charts/chart2248.xml"/></Relationships>
</file>

<file path=ppt/slides/_rels/slide1125.xml.rels><?xml version='1.0' encoding='UTF-8' standalone='yes'?>
<Relationships xmlns="http://schemas.openxmlformats.org/package/2006/relationships"><Relationship Id="rId1" Type="http://schemas.openxmlformats.org/officeDocument/2006/relationships/tags" Target="../tags/tag686.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49.xml"/><Relationship Id="rId7" Type="http://schemas.openxmlformats.org/officeDocument/2006/relationships/chart" Target="../charts/chart2250.xml"/></Relationships>
</file>

<file path=ppt/slides/_rels/slide1127.xml.rels><?xml version='1.0' encoding='UTF-8' standalone='yes'?>
<Relationships xmlns="http://schemas.openxmlformats.org/package/2006/relationships"><Relationship Id="rId1" Type="http://schemas.openxmlformats.org/officeDocument/2006/relationships/tags" Target="../tags/tag688.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53.xml"/><Relationship Id="rId7" Type="http://schemas.openxmlformats.org/officeDocument/2006/relationships/chart" Target="../charts/chart2254.xml"/></Relationships>
</file>

<file path=ppt/slides/_rels/slide1131.xml.rels><?xml version='1.0' encoding='UTF-8' standalone='yes'?>
<Relationships xmlns="http://schemas.openxmlformats.org/package/2006/relationships"><Relationship Id="rId1" Type="http://schemas.openxmlformats.org/officeDocument/2006/relationships/tags" Target="../tags/tag692.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61.xml"/><Relationship Id="rId7" Type="http://schemas.openxmlformats.org/officeDocument/2006/relationships/chart" Target="../charts/chart2262.xml"/></Relationships>
</file>

<file path=ppt/slides/_rels/slide1132.xml.rels><?xml version='1.0' encoding='UTF-8' standalone='yes'?>
<Relationships xmlns="http://schemas.openxmlformats.org/package/2006/relationships"><Relationship Id="rId1" Type="http://schemas.openxmlformats.org/officeDocument/2006/relationships/tags" Target="../tags/tag693.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63.xml"/><Relationship Id="rId7" Type="http://schemas.openxmlformats.org/officeDocument/2006/relationships/chart" Target="../charts/chart2264.xml"/></Relationships>
</file>

<file path=ppt/slides/_rels/slide1138.xml.rels><?xml version='1.0' encoding='UTF-8' standalone='yes'?>
<Relationships xmlns="http://schemas.openxmlformats.org/package/2006/relationships"><Relationship Id="rId1" Type="http://schemas.openxmlformats.org/officeDocument/2006/relationships/tags" Target="../tags/tag699.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75.xml"/><Relationship Id="rId7" Type="http://schemas.openxmlformats.org/officeDocument/2006/relationships/chart" Target="../charts/chart2276.xml"/></Relationships>
</file>

<file path=ppt/slides/_rels/slide1139.xml.rels><?xml version='1.0' encoding='UTF-8' standalone='yes'?>
<Relationships xmlns="http://schemas.openxmlformats.org/package/2006/relationships"><Relationship Id="rId1" Type="http://schemas.openxmlformats.org/officeDocument/2006/relationships/tags" Target="../tags/tag700.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77.xml"/><Relationship Id="rId7" Type="http://schemas.openxmlformats.org/officeDocument/2006/relationships/chart" Target="../charts/chart2278.xml"/></Relationships>
</file>

<file path=ppt/slides/_rels/slide1142.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83.xml"/><Relationship Id="rId7" Type="http://schemas.openxmlformats.org/officeDocument/2006/relationships/chart" Target="../charts/chart2284.xml"/></Relationships>
</file>

<file path=ppt/slides/_rels/slide1143.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85.xml"/><Relationship Id="rId7" Type="http://schemas.openxmlformats.org/officeDocument/2006/relationships/chart" Target="../charts/chart2286.xml"/></Relationships>
</file>

<file path=ppt/slides/_rels/slide1149.xml.rels><?xml version='1.0' encoding='UTF-8' standalone='yes'?>
<Relationships xmlns="http://schemas.openxmlformats.org/package/2006/relationships"><Relationship Id="rId1" Type="http://schemas.openxmlformats.org/officeDocument/2006/relationships/tags" Target="../tags/tag710.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97.xml"/><Relationship Id="rId7" Type="http://schemas.openxmlformats.org/officeDocument/2006/relationships/chart" Target="../charts/chart2298.xml"/></Relationships>
</file>

<file path=ppt/slides/_rels/slide1153.xml.rels><?xml version='1.0' encoding='UTF-8' standalone='yes'?>
<Relationships xmlns="http://schemas.openxmlformats.org/package/2006/relationships"><Relationship Id="rId1" Type="http://schemas.openxmlformats.org/officeDocument/2006/relationships/tags" Target="../tags/tag714.xml"/><Relationship Id="rId2" Type="http://schemas.openxmlformats.org/officeDocument/2006/relationships/slideLayout" Target="../slideLayouts/slideLayout7.xml"/><Relationship Id="rId3" Type="http://schemas.openxmlformats.org/officeDocument/2006/relationships/notesSlide" Target="../notesSlides/notesSlide37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05.xml"/><Relationship Id="rId7" Type="http://schemas.openxmlformats.org/officeDocument/2006/relationships/chart" Target="../charts/chart2306.xml"/></Relationships>
</file>

<file path=ppt/slides/_rels/slide1154.xml.rels><?xml version='1.0' encoding='UTF-8' standalone='yes'?>
<Relationships xmlns="http://schemas.openxmlformats.org/package/2006/relationships"><Relationship Id="rId1" Type="http://schemas.openxmlformats.org/officeDocument/2006/relationships/tags" Target="../tags/tag715.xml"/><Relationship Id="rId2" Type="http://schemas.openxmlformats.org/officeDocument/2006/relationships/slideLayout" Target="../slideLayouts/slideLayout7.xml"/><Relationship Id="rId3" Type="http://schemas.openxmlformats.org/officeDocument/2006/relationships/notesSlide" Target="../notesSlides/notesSlide37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07.xml"/><Relationship Id="rId7" Type="http://schemas.openxmlformats.org/officeDocument/2006/relationships/chart" Target="../charts/chart2308.xml"/></Relationships>
</file>

<file path=ppt/slides/_rels/slide1156.xml.rels><?xml version='1.0' encoding='UTF-8' standalone='yes'?>
<Relationships xmlns="http://schemas.openxmlformats.org/package/2006/relationships"><Relationship Id="rId1" Type="http://schemas.openxmlformats.org/officeDocument/2006/relationships/tags" Target="../tags/tag717.xml"/><Relationship Id="rId2" Type="http://schemas.openxmlformats.org/officeDocument/2006/relationships/slideLayout" Target="../slideLayouts/slideLayout7.xml"/><Relationship Id="rId3" Type="http://schemas.openxmlformats.org/officeDocument/2006/relationships/notesSlide" Target="../notesSlides/notesSlide37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11.xml"/><Relationship Id="rId7" Type="http://schemas.openxmlformats.org/officeDocument/2006/relationships/chart" Target="../charts/chart2312.xml"/></Relationships>
</file>

<file path=ppt/slides/_rels/slide1160.xml.rels><?xml version='1.0' encoding='UTF-8' standalone='yes'?>
<Relationships xmlns="http://schemas.openxmlformats.org/package/2006/relationships"><Relationship Id="rId1" Type="http://schemas.openxmlformats.org/officeDocument/2006/relationships/tags" Target="../tags/tag721.xml"/><Relationship Id="rId2" Type="http://schemas.openxmlformats.org/officeDocument/2006/relationships/slideLayout" Target="../slideLayouts/slideLayout7.xml"/><Relationship Id="rId3" Type="http://schemas.openxmlformats.org/officeDocument/2006/relationships/notesSlide" Target="../notesSlides/notesSlide3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19.xml"/><Relationship Id="rId7" Type="http://schemas.openxmlformats.org/officeDocument/2006/relationships/chart" Target="../charts/chart2320.xml"/></Relationships>
</file>

<file path=ppt/slides/_rels/slide1161.xml.rels><?xml version='1.0' encoding='UTF-8' standalone='yes'?>
<Relationships xmlns="http://schemas.openxmlformats.org/package/2006/relationships"><Relationship Id="rId1" Type="http://schemas.openxmlformats.org/officeDocument/2006/relationships/tags" Target="../tags/tag722.xml"/><Relationship Id="rId2" Type="http://schemas.openxmlformats.org/officeDocument/2006/relationships/slideLayout" Target="../slideLayouts/slideLayout7.xml"/><Relationship Id="rId3" Type="http://schemas.openxmlformats.org/officeDocument/2006/relationships/notesSlide" Target="../notesSlides/notesSlide38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21.xml"/><Relationship Id="rId7" Type="http://schemas.openxmlformats.org/officeDocument/2006/relationships/chart" Target="../charts/chart2322.xml"/></Relationships>
</file>

<file path=ppt/slides/_rels/slide1164.xml.rels><?xml version='1.0' encoding='UTF-8' standalone='yes'?>
<Relationships xmlns="http://schemas.openxmlformats.org/package/2006/relationships"><Relationship Id="rId1" Type="http://schemas.openxmlformats.org/officeDocument/2006/relationships/tags" Target="../tags/tag725.xml"/><Relationship Id="rId2" Type="http://schemas.openxmlformats.org/officeDocument/2006/relationships/slideLayout" Target="../slideLayouts/slideLayout7.xml"/><Relationship Id="rId3" Type="http://schemas.openxmlformats.org/officeDocument/2006/relationships/notesSlide" Target="../notesSlides/notesSlide3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27.xml"/><Relationship Id="rId7" Type="http://schemas.openxmlformats.org/officeDocument/2006/relationships/chart" Target="../charts/chart2328.xml"/></Relationships>
</file>

<file path=ppt/slides/_rels/slide1165.xml.rels><?xml version='1.0' encoding='UTF-8' standalone='yes'?>
<Relationships xmlns="http://schemas.openxmlformats.org/package/2006/relationships"><Relationship Id="rId1" Type="http://schemas.openxmlformats.org/officeDocument/2006/relationships/tags" Target="../tags/tag726.xml"/><Relationship Id="rId2" Type="http://schemas.openxmlformats.org/officeDocument/2006/relationships/slideLayout" Target="../slideLayouts/slideLayout7.xml"/><Relationship Id="rId3" Type="http://schemas.openxmlformats.org/officeDocument/2006/relationships/notesSlide" Target="../notesSlides/notesSlide3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29.xml"/><Relationship Id="rId7" Type="http://schemas.openxmlformats.org/officeDocument/2006/relationships/chart" Target="../charts/chart2330.xml"/></Relationships>
</file>

<file path=ppt/slides/_rels/slide1166.xml.rels><?xml version='1.0' encoding='UTF-8' standalone='yes'?>
<Relationships xmlns="http://schemas.openxmlformats.org/package/2006/relationships"><Relationship Id="rId1" Type="http://schemas.openxmlformats.org/officeDocument/2006/relationships/tags" Target="../tags/tag727.xml"/><Relationship Id="rId2" Type="http://schemas.openxmlformats.org/officeDocument/2006/relationships/slideLayout" Target="../slideLayouts/slideLayout7.xml"/><Relationship Id="rId3" Type="http://schemas.openxmlformats.org/officeDocument/2006/relationships/notesSlide" Target="../notesSlides/notesSlide3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31.xml"/><Relationship Id="rId7" Type="http://schemas.openxmlformats.org/officeDocument/2006/relationships/chart" Target="../charts/chart2332.xml"/></Relationships>
</file>

<file path=ppt/slides/_rels/slide1167.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33.xml"/><Relationship Id="rId7" Type="http://schemas.openxmlformats.org/officeDocument/2006/relationships/chart" Target="../charts/chart2334.xml"/></Relationships>
</file>

<file path=ppt/slides/_rels/slide1168.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35.xml"/><Relationship Id="rId7" Type="http://schemas.openxmlformats.org/officeDocument/2006/relationships/chart" Target="../charts/chart2336.xml"/></Relationships>
</file>

<file path=ppt/slides/_rels/slide1171.xml.rels><?xml version='1.0' encoding='UTF-8' standalone='yes'?>
<Relationships xmlns="http://schemas.openxmlformats.org/package/2006/relationships"><Relationship Id="rId1" Type="http://schemas.openxmlformats.org/officeDocument/2006/relationships/tags" Target="../tags/tag732.xml"/><Relationship Id="rId2" Type="http://schemas.openxmlformats.org/officeDocument/2006/relationships/slideLayout" Target="../slideLayouts/slideLayout7.xml"/><Relationship Id="rId3" Type="http://schemas.openxmlformats.org/officeDocument/2006/relationships/notesSlide" Target="../notesSlides/notesSlide3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41.xml"/><Relationship Id="rId7" Type="http://schemas.openxmlformats.org/officeDocument/2006/relationships/chart" Target="../charts/chart2342.xml"/></Relationships>
</file>

<file path=ppt/slides/_rels/slide1175.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notesSlide" Target="../notesSlides/notesSlide39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49.xml"/><Relationship Id="rId7" Type="http://schemas.openxmlformats.org/officeDocument/2006/relationships/chart" Target="../charts/chart2350.xml"/></Relationships>
</file>

<file path=ppt/slides/_rels/slide1178.xml.rels><?xml version='1.0' encoding='UTF-8' standalone='yes'?>
<Relationships xmlns="http://schemas.openxmlformats.org/package/2006/relationships"><Relationship Id="rId1" Type="http://schemas.openxmlformats.org/officeDocument/2006/relationships/tags" Target="../tags/tag739.xml"/><Relationship Id="rId2" Type="http://schemas.openxmlformats.org/officeDocument/2006/relationships/slideLayout" Target="../slideLayouts/slideLayout7.xml"/><Relationship Id="rId3" Type="http://schemas.openxmlformats.org/officeDocument/2006/relationships/notesSlide" Target="../notesSlides/notesSlide39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55.xml"/><Relationship Id="rId7" Type="http://schemas.openxmlformats.org/officeDocument/2006/relationships/chart" Target="../charts/chart2356.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 Id="rId6" Type="http://schemas.openxmlformats.org/officeDocument/2006/relationships/chart" Target="../charts/chart236.xml"/></Relationships>
</file>

<file path=ppt/slides/_rels/slide1182.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notesSlide" Target="../notesSlides/notesSlide40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63.xml"/><Relationship Id="rId7" Type="http://schemas.openxmlformats.org/officeDocument/2006/relationships/chart" Target="../charts/chart2364.xml"/></Relationships>
</file>

<file path=ppt/slides/_rels/slide1183.xml.rels><?xml version='1.0' encoding='UTF-8' standalone='yes'?>
<Relationships xmlns="http://schemas.openxmlformats.org/package/2006/relationships"><Relationship Id="rId1" Type="http://schemas.openxmlformats.org/officeDocument/2006/relationships/tags" Target="../tags/tag744.xml"/><Relationship Id="rId2" Type="http://schemas.openxmlformats.org/officeDocument/2006/relationships/slideLayout" Target="../slideLayouts/slideLayout7.xml"/><Relationship Id="rId3" Type="http://schemas.openxmlformats.org/officeDocument/2006/relationships/notesSlide" Target="../notesSlides/notesSlide40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65.xml"/><Relationship Id="rId7" Type="http://schemas.openxmlformats.org/officeDocument/2006/relationships/chart" Target="../charts/chart2366.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 Id="rId6" Type="http://schemas.openxmlformats.org/officeDocument/2006/relationships/chart" Target="../charts/chart244.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 Id="rId6"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 Id="rId6" Type="http://schemas.openxmlformats.org/officeDocument/2006/relationships/chart" Target="../charts/chart24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 Id="rId6"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 Id="rId6" Type="http://schemas.openxmlformats.org/officeDocument/2006/relationships/chart" Target="../charts/chart260.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 Id="rId6" Type="http://schemas.openxmlformats.org/officeDocument/2006/relationships/chart" Target="../charts/chart268.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 Id="rId6"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 Id="rId6" Type="http://schemas.openxmlformats.org/officeDocument/2006/relationships/chart" Target="../charts/chart27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 Id="rId6" Type="http://schemas.openxmlformats.org/officeDocument/2006/relationships/chart" Target="../charts/chart280.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 Id="rId6" Type="http://schemas.openxmlformats.org/officeDocument/2006/relationships/chart" Target="../charts/chart290.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 Id="rId6" Type="http://schemas.openxmlformats.org/officeDocument/2006/relationships/chart" Target="../charts/chart294.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 Id="rId6"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 Id="rId6" Type="http://schemas.openxmlformats.org/officeDocument/2006/relationships/chart" Target="../charts/chart304.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 Id="rId6" Type="http://schemas.openxmlformats.org/officeDocument/2006/relationships/chart" Target="../charts/chart31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 Id="rId6" Type="http://schemas.openxmlformats.org/officeDocument/2006/relationships/chart" Target="../charts/chart3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 Id="rId6" Type="http://schemas.openxmlformats.org/officeDocument/2006/relationships/chart" Target="../charts/chart324.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 Id="rId6" Type="http://schemas.openxmlformats.org/officeDocument/2006/relationships/chart" Target="../charts/chart326.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 Id="rId6" Type="http://schemas.openxmlformats.org/officeDocument/2006/relationships/chart" Target="../charts/chart332.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 Id="rId6" Type="http://schemas.openxmlformats.org/officeDocument/2006/relationships/chart" Target="../charts/chart33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 Id="rId6" Type="http://schemas.openxmlformats.org/officeDocument/2006/relationships/chart" Target="../charts/chart346.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7.xml"/><Relationship Id="rId6" Type="http://schemas.openxmlformats.org/officeDocument/2006/relationships/chart" Target="../charts/chart348.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1.xml"/><Relationship Id="rId6" Type="http://schemas.openxmlformats.org/officeDocument/2006/relationships/chart" Target="../charts/chart352.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 Id="rId6" Type="http://schemas.openxmlformats.org/officeDocument/2006/relationships/chart" Target="../charts/chart36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 Id="rId6" Type="http://schemas.openxmlformats.org/officeDocument/2006/relationships/chart" Target="../charts/chart362.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 Id="rId6" Type="http://schemas.openxmlformats.org/officeDocument/2006/relationships/chart" Target="../charts/chart368.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9.xml"/><Relationship Id="rId6" Type="http://schemas.openxmlformats.org/officeDocument/2006/relationships/chart" Target="../charts/chart370.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 Id="rId6" Type="http://schemas.openxmlformats.org/officeDocument/2006/relationships/chart" Target="../charts/chart374.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5.xml"/><Relationship Id="rId6" Type="http://schemas.openxmlformats.org/officeDocument/2006/relationships/chart" Target="../charts/chart376.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 Id="rId6" Type="http://schemas.openxmlformats.org/officeDocument/2006/relationships/chart" Target="../charts/chart382.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 Id="rId6" Type="http://schemas.openxmlformats.org/officeDocument/2006/relationships/chart" Target="../charts/chart39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 Id="rId6" Type="http://schemas.openxmlformats.org/officeDocument/2006/relationships/chart" Target="../charts/chart3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 Id="rId6" Type="http://schemas.openxmlformats.org/officeDocument/2006/relationships/chart" Target="../charts/chart394.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 Id="rId6" Type="http://schemas.openxmlformats.org/officeDocument/2006/relationships/chart" Target="../charts/chart4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1.xml"/><Relationship Id="rId6" Type="http://schemas.openxmlformats.org/officeDocument/2006/relationships/chart" Target="../charts/chart402.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 Id="rId6" Type="http://schemas.openxmlformats.org/officeDocument/2006/relationships/chart" Target="../charts/chart410.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 Id="rId6" Type="http://schemas.openxmlformats.org/officeDocument/2006/relationships/chart" Target="../charts/chart414.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5.xml"/><Relationship Id="rId6" Type="http://schemas.openxmlformats.org/officeDocument/2006/relationships/chart" Target="../charts/chart416.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 Id="rId6"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 Id="rId6" Type="http://schemas.openxmlformats.org/officeDocument/2006/relationships/chart" Target="../charts/chart426.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 Id="rId6"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 Id="rId6" Type="http://schemas.openxmlformats.org/officeDocument/2006/relationships/chart" Target="../charts/chart438.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 Id="rId6" Type="http://schemas.openxmlformats.org/officeDocument/2006/relationships/chart" Target="../charts/chart446.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 Id="rId6" Type="http://schemas.openxmlformats.org/officeDocument/2006/relationships/chart" Target="../charts/chart452.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7.xml"/><Relationship Id="rId6" Type="http://schemas.openxmlformats.org/officeDocument/2006/relationships/chart" Target="../charts/chart458.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 Id="rId6" Type="http://schemas.openxmlformats.org/officeDocument/2006/relationships/chart" Target="../charts/chart460.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 Id="rId6"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 Id="rId6" Type="http://schemas.openxmlformats.org/officeDocument/2006/relationships/chart" Target="../charts/chart470.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 Id="rId6" Type="http://schemas.openxmlformats.org/officeDocument/2006/relationships/chart" Target="../charts/chart472.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 Id="rId6"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 Id="rId6" Type="http://schemas.openxmlformats.org/officeDocument/2006/relationships/chart" Target="../charts/chart482.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 Id="rId6" Type="http://schemas.openxmlformats.org/officeDocument/2006/relationships/chart" Target="../charts/chart490.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 Id="rId6"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 Id="rId6" Type="http://schemas.openxmlformats.org/officeDocument/2006/relationships/chart" Target="../charts/chart496.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 Id="rId6" Type="http://schemas.openxmlformats.org/officeDocument/2006/relationships/chart" Target="../charts/chart502.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3.xml"/><Relationship Id="rId6" Type="http://schemas.openxmlformats.org/officeDocument/2006/relationships/chart" Target="../charts/chart504.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5.xml"/><Relationship Id="rId6" Type="http://schemas.openxmlformats.org/officeDocument/2006/relationships/chart" Target="../charts/chart516.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 Id="rId6" Type="http://schemas.openxmlformats.org/officeDocument/2006/relationships/chart" Target="../charts/chart52.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 Id="rId6"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 Id="rId6"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 Id="rId6" Type="http://schemas.openxmlformats.org/officeDocument/2006/relationships/chart" Target="../charts/chart52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 Id="rId6" Type="http://schemas.openxmlformats.org/officeDocument/2006/relationships/chart" Target="../charts/chart53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 Id="rId6" Type="http://schemas.openxmlformats.org/officeDocument/2006/relationships/chart" Target="../charts/chart54.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 Id="rId6" Type="http://schemas.openxmlformats.org/officeDocument/2006/relationships/chart" Target="../charts/chart540.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5.xml"/><Relationship Id="rId6" Type="http://schemas.openxmlformats.org/officeDocument/2006/relationships/chart" Target="../charts/chart546.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7.xml"/><Relationship Id="rId6" Type="http://schemas.openxmlformats.org/officeDocument/2006/relationships/chart" Target="../charts/chart548.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1.xml"/><Relationship Id="rId6" Type="http://schemas.openxmlformats.org/officeDocument/2006/relationships/chart" Target="../charts/chart552.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3.xml"/><Relationship Id="rId6" Type="http://schemas.openxmlformats.org/officeDocument/2006/relationships/chart" Target="../charts/chart554.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9.xml"/><Relationship Id="rId6" Type="http://schemas.openxmlformats.org/officeDocument/2006/relationships/chart" Target="../charts/chart560.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9.xml"/><Relationship Id="rId6" Type="http://schemas.openxmlformats.org/officeDocument/2006/relationships/chart" Target="../charts/chart570.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3.xml"/><Relationship Id="rId6" Type="http://schemas.openxmlformats.org/officeDocument/2006/relationships/chart" Target="../charts/chart574.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1.xml"/><Relationship Id="rId6" Type="http://schemas.openxmlformats.org/officeDocument/2006/relationships/chart" Target="../charts/chart582.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3.xml"/><Relationship Id="rId6" Type="http://schemas.openxmlformats.org/officeDocument/2006/relationships/chart" Target="../charts/chart584.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1.xml"/><Relationship Id="rId6" Type="http://schemas.openxmlformats.org/officeDocument/2006/relationships/chart" Target="../charts/chart592.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3.xml"/><Relationship Id="rId6" Type="http://schemas.openxmlformats.org/officeDocument/2006/relationships/chart" Target="../charts/chart59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1.xml"/><Relationship Id="rId6" Type="http://schemas.openxmlformats.org/officeDocument/2006/relationships/chart" Target="../charts/chart602.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3.xml"/><Relationship Id="rId6" Type="http://schemas.openxmlformats.org/officeDocument/2006/relationships/chart" Target="../charts/chart6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9.xml"/><Relationship Id="rId6" Type="http://schemas.openxmlformats.org/officeDocument/2006/relationships/chart" Target="../charts/chart610.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3.xml"/><Relationship Id="rId6" Type="http://schemas.openxmlformats.org/officeDocument/2006/relationships/chart" Target="../charts/chart614.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5.xml"/><Relationship Id="rId6" Type="http://schemas.openxmlformats.org/officeDocument/2006/relationships/chart" Target="../charts/chart616.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3.xml"/><Relationship Id="rId6" Type="http://schemas.openxmlformats.org/officeDocument/2006/relationships/chart" Target="../charts/chart624.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5.xml"/><Relationship Id="rId6" Type="http://schemas.openxmlformats.org/officeDocument/2006/relationships/chart" Target="../charts/chart636.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7.xml"/><Relationship Id="rId6" Type="http://schemas.openxmlformats.org/officeDocument/2006/relationships/chart" Target="../charts/chart63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5.xml"/><Relationship Id="rId6" Type="http://schemas.openxmlformats.org/officeDocument/2006/relationships/chart" Target="../charts/chart646.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7.xml"/><Relationship Id="rId6" Type="http://schemas.openxmlformats.org/officeDocument/2006/relationships/chart" Target="../charts/chart64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7.xml"/><Relationship Id="rId6" Type="http://schemas.openxmlformats.org/officeDocument/2006/relationships/chart" Target="../charts/chart658.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9.xml"/><Relationship Id="rId6" Type="http://schemas.openxmlformats.org/officeDocument/2006/relationships/chart" Target="../charts/chart66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1.xml"/><Relationship Id="rId6" Type="http://schemas.openxmlformats.org/officeDocument/2006/relationships/chart" Target="../charts/chart662.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7.xml"/><Relationship Id="rId6" Type="http://schemas.openxmlformats.org/officeDocument/2006/relationships/chart" Target="../charts/chart668.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1.xml"/><Relationship Id="rId6" Type="http://schemas.openxmlformats.org/officeDocument/2006/relationships/chart" Target="../charts/chart672.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3.xml"/><Relationship Id="rId6" Type="http://schemas.openxmlformats.org/officeDocument/2006/relationships/chart" Target="../charts/chart674.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1.xml"/><Relationship Id="rId6" Type="http://schemas.openxmlformats.org/officeDocument/2006/relationships/chart" Target="../charts/chart682.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9.xml"/><Relationship Id="rId6" Type="http://schemas.openxmlformats.org/officeDocument/2006/relationships/chart" Target="../charts/chart690.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3.xml"/><Relationship Id="rId6" Type="http://schemas.openxmlformats.org/officeDocument/2006/relationships/chart" Target="../charts/chart69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 Id="rId6" Type="http://schemas.openxmlformats.org/officeDocument/2006/relationships/chart" Target="../charts/chart70.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3.xml"/><Relationship Id="rId6" Type="http://schemas.openxmlformats.org/officeDocument/2006/relationships/chart" Target="../charts/chart70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5.xml"/><Relationship Id="rId6" Type="http://schemas.openxmlformats.org/officeDocument/2006/relationships/chart" Target="../charts/chart706.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5.xml"/><Relationship Id="rId6" Type="http://schemas.openxmlformats.org/officeDocument/2006/relationships/chart" Target="../charts/chart716.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7.xml"/><Relationship Id="rId6" Type="http://schemas.openxmlformats.org/officeDocument/2006/relationships/chart" Target="../charts/chart718.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5.xml"/><Relationship Id="rId6" Type="http://schemas.openxmlformats.org/officeDocument/2006/relationships/chart" Target="../charts/chart726.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1.xml"/><Relationship Id="rId6" Type="http://schemas.openxmlformats.org/officeDocument/2006/relationships/chart" Target="../charts/chart732.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7.xml"/><Relationship Id="rId6" Type="http://schemas.openxmlformats.org/officeDocument/2006/relationships/chart" Target="../charts/chart738.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9.xml"/><Relationship Id="rId6" Type="http://schemas.openxmlformats.org/officeDocument/2006/relationships/chart" Target="../charts/chart740.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7.xml"/><Relationship Id="rId6" Type="http://schemas.openxmlformats.org/officeDocument/2006/relationships/chart" Target="../charts/chart74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9.xml"/><Relationship Id="rId6" Type="http://schemas.openxmlformats.org/officeDocument/2006/relationships/chart" Target="../charts/chart750.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1.xml"/><Relationship Id="rId6" Type="http://schemas.openxmlformats.org/officeDocument/2006/relationships/chart" Target="../charts/chart752.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9.xml"/><Relationship Id="rId6" Type="http://schemas.openxmlformats.org/officeDocument/2006/relationships/chart" Target="../charts/chart760.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1.xml"/><Relationship Id="rId6" Type="http://schemas.openxmlformats.org/officeDocument/2006/relationships/chart" Target="../charts/chart762.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9.xml"/><Relationship Id="rId6" Type="http://schemas.openxmlformats.org/officeDocument/2006/relationships/chart" Target="../charts/chart770.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3.xml"/><Relationship Id="rId6" Type="http://schemas.openxmlformats.org/officeDocument/2006/relationships/chart" Target="../charts/chart774.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5.xml"/><Relationship Id="rId6" Type="http://schemas.openxmlformats.org/officeDocument/2006/relationships/chart" Target="../charts/chart7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81.xml"/><Relationship Id="rId3" Type="http://schemas.openxmlformats.org/officeDocument/2006/relationships/chart" Target="../charts/chart782.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83.xml"/><Relationship Id="rId3" Type="http://schemas.openxmlformats.org/officeDocument/2006/relationships/chart" Target="../charts/chart784.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1.xml"/><Relationship Id="rId3" Type="http://schemas.openxmlformats.org/officeDocument/2006/relationships/chart" Target="../charts/chart792.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3.xml"/><Relationship Id="rId3" Type="http://schemas.openxmlformats.org/officeDocument/2006/relationships/chart" Target="../charts/chart794.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5.xml"/><Relationship Id="rId3" Type="http://schemas.openxmlformats.org/officeDocument/2006/relationships/chart" Target="../charts/chart796.xml"/></Relationships>
</file>

<file path=ppt/slides/_rels/slide4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01.xml"/><Relationship Id="rId3" Type="http://schemas.openxmlformats.org/officeDocument/2006/relationships/chart" Target="../charts/chart802.xml"/></Relationships>
</file>

<file path=ppt/slides/_rels/slide4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09.xml"/><Relationship Id="rId3" Type="http://schemas.openxmlformats.org/officeDocument/2006/relationships/chart" Target="../charts/chart810.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5.xml"/><Relationship Id="rId3" Type="http://schemas.openxmlformats.org/officeDocument/2006/relationships/chart" Target="../charts/chart816.xml"/></Relationships>
</file>

<file path=ppt/slides/_rels/slide4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3.xml"/><Relationship Id="rId3" Type="http://schemas.openxmlformats.org/officeDocument/2006/relationships/chart" Target="../charts/chart824.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5.xml"/><Relationship Id="rId3" Type="http://schemas.openxmlformats.org/officeDocument/2006/relationships/chart" Target="../charts/chart826.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7.xml"/><Relationship Id="rId3" Type="http://schemas.openxmlformats.org/officeDocument/2006/relationships/chart" Target="../charts/chart838.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 Id="rId6" Type="http://schemas.openxmlformats.org/officeDocument/2006/relationships/chart" Target="../charts/chart84.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9.xml"/><Relationship Id="rId3" Type="http://schemas.openxmlformats.org/officeDocument/2006/relationships/chart" Target="../charts/chart840.xml"/></Relationships>
</file>

<file path=ppt/slides/_rels/slide4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45.xml"/><Relationship Id="rId3" Type="http://schemas.openxmlformats.org/officeDocument/2006/relationships/chart" Target="../charts/chart846.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1.xml"/><Relationship Id="rId3" Type="http://schemas.openxmlformats.org/officeDocument/2006/relationships/chart" Target="../charts/chart852.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9.xml"/><Relationship Id="rId3" Type="http://schemas.openxmlformats.org/officeDocument/2006/relationships/chart" Target="../charts/chart860.xml"/></Relationships>
</file>

<file path=ppt/slides/_rels/slide4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67.xml"/><Relationship Id="rId3" Type="http://schemas.openxmlformats.org/officeDocument/2006/relationships/chart" Target="../charts/chart868.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69.xml"/><Relationship Id="rId3" Type="http://schemas.openxmlformats.org/officeDocument/2006/relationships/chart" Target="../charts/chart870.xml"/></Relationships>
</file>

<file path=ppt/slides/_rels/slide4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1.xml"/><Relationship Id="rId3" Type="http://schemas.openxmlformats.org/officeDocument/2006/relationships/chart" Target="../charts/chart872.xml"/></Relationships>
</file>

<file path=ppt/slides/_rels/slide4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3.xml"/><Relationship Id="rId3" Type="http://schemas.openxmlformats.org/officeDocument/2006/relationships/chart" Target="../charts/chart874.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1.xml"/><Relationship Id="rId3" Type="http://schemas.openxmlformats.org/officeDocument/2006/relationships/chart" Target="../charts/chart882.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3.xml"/><Relationship Id="rId3" Type="http://schemas.openxmlformats.org/officeDocument/2006/relationships/chart" Target="../charts/chart884.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9.xml"/><Relationship Id="rId3" Type="http://schemas.openxmlformats.org/officeDocument/2006/relationships/chart" Target="../charts/chart890.xml"/></Relationships>
</file>

<file path=ppt/slides/_rels/slide4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3.xml"/><Relationship Id="rId3" Type="http://schemas.openxmlformats.org/officeDocument/2006/relationships/chart" Target="../charts/chart894.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5.xml"/><Relationship Id="rId3" Type="http://schemas.openxmlformats.org/officeDocument/2006/relationships/chart" Target="../charts/chart896.xml"/></Relationships>
</file>

<file path=ppt/slides/_rels/slide4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03.xml"/><Relationship Id="rId3" Type="http://schemas.openxmlformats.org/officeDocument/2006/relationships/chart" Target="../charts/chart904.xml"/></Relationships>
</file>

<file path=ppt/slides/_rels/slide4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5.xml"/><Relationship Id="rId3" Type="http://schemas.openxmlformats.org/officeDocument/2006/relationships/chart" Target="../charts/chart916.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7.xml"/><Relationship Id="rId3" Type="http://schemas.openxmlformats.org/officeDocument/2006/relationships/chart" Target="../charts/chart918.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25.xml"/><Relationship Id="rId3" Type="http://schemas.openxmlformats.org/officeDocument/2006/relationships/chart" Target="../charts/chart926.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27.xml"/><Relationship Id="rId3" Type="http://schemas.openxmlformats.org/officeDocument/2006/relationships/chart" Target="../charts/chart928.xml"/></Relationships>
</file>

<file path=ppt/slides/_rels/slide4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7.xml"/><Relationship Id="rId3" Type="http://schemas.openxmlformats.org/officeDocument/2006/relationships/chart" Target="../charts/chart938.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9.xml"/><Relationship Id="rId3" Type="http://schemas.openxmlformats.org/officeDocument/2006/relationships/chart" Target="../charts/chart940.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41.xml"/><Relationship Id="rId3" Type="http://schemas.openxmlformats.org/officeDocument/2006/relationships/chart" Target="../charts/chart942.xml"/></Relationships>
</file>

<file path=ppt/slides/_rels/slide4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47.xml"/><Relationship Id="rId3" Type="http://schemas.openxmlformats.org/officeDocument/2006/relationships/chart" Target="../charts/chart948.xml"/></Relationships>
</file>

<file path=ppt/slides/_rels/slide4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1.xml"/><Relationship Id="rId3" Type="http://schemas.openxmlformats.org/officeDocument/2006/relationships/chart" Target="../charts/chart952.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3.xml"/><Relationship Id="rId3" Type="http://schemas.openxmlformats.org/officeDocument/2006/relationships/chart" Target="../charts/chart954.xml"/></Relationships>
</file>

<file path=ppt/slides/_rels/slide4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9.xml"/><Relationship Id="rId3" Type="http://schemas.openxmlformats.org/officeDocument/2006/relationships/chart" Target="../charts/chart960.xml"/></Relationships>
</file>

<file path=ppt/slides/_rels/slide4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1.xml"/><Relationship Id="rId3" Type="http://schemas.openxmlformats.org/officeDocument/2006/relationships/chart" Target="../charts/chart962.xml"/></Relationships>
</file>

<file path=ppt/slides/_rels/slide4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9.xml"/><Relationship Id="rId3" Type="http://schemas.openxmlformats.org/officeDocument/2006/relationships/chart" Target="../charts/chart970.xml"/></Relationships>
</file>

<file path=ppt/slides/_rels/slide4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3.xml"/><Relationship Id="rId3" Type="http://schemas.openxmlformats.org/officeDocument/2006/relationships/chart" Target="../charts/chart974.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 Id="rId6" Type="http://schemas.openxmlformats.org/officeDocument/2006/relationships/chart" Target="../charts/chart98.xml"/></Relationships>
</file>

<file path=ppt/slides/_rels/slide4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83.xml"/><Relationship Id="rId3" Type="http://schemas.openxmlformats.org/officeDocument/2006/relationships/chart" Target="../charts/chart984.xml"/></Relationships>
</file>

<file path=ppt/slides/_rels/slide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85.xml"/><Relationship Id="rId3" Type="http://schemas.openxmlformats.org/officeDocument/2006/relationships/chart" Target="../charts/chart986.xml"/></Relationships>
</file>

<file path=ppt/slides/_rels/slide4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3.xml"/><Relationship Id="rId3" Type="http://schemas.openxmlformats.org/officeDocument/2006/relationships/chart" Target="../charts/chart994.xml"/></Relationships>
</file>

<file path=ppt/slides/_rels/slide5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01.xml"/><Relationship Id="rId3" Type="http://schemas.openxmlformats.org/officeDocument/2006/relationships/chart" Target="../charts/chart1002.xml"/></Relationships>
</file>

<file path=ppt/slides/_rels/slide5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03.xml"/><Relationship Id="rId3" Type="http://schemas.openxmlformats.org/officeDocument/2006/relationships/chart" Target="../charts/chart1004.xml"/></Relationships>
</file>

<file path=ppt/slides/_rels/slide5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5.xml"/><Relationship Id="rId3" Type="http://schemas.openxmlformats.org/officeDocument/2006/relationships/chart" Target="../charts/chart1016.xml"/></Relationships>
</file>

<file path=ppt/slides/_rels/slide5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7.xml"/><Relationship Id="rId3" Type="http://schemas.openxmlformats.org/officeDocument/2006/relationships/chart" Target="../charts/chart1018.xml"/></Relationships>
</file>

<file path=ppt/slides/_rels/slide5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23.xml"/><Relationship Id="rId3" Type="http://schemas.openxmlformats.org/officeDocument/2006/relationships/chart" Target="../charts/chart1024.xml"/></Relationships>
</file>

<file path=ppt/slides/_rels/slide5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25.xml"/><Relationship Id="rId3" Type="http://schemas.openxmlformats.org/officeDocument/2006/relationships/chart" Target="../charts/chart1026.xml"/></Relationships>
</file>

<file path=ppt/slides/_rels/slide5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7.xml"/><Relationship Id="rId3" Type="http://schemas.openxmlformats.org/officeDocument/2006/relationships/chart" Target="../charts/chart1038.xml"/></Relationships>
</file>

<file path=ppt/slides/_rels/slide5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45.xml"/><Relationship Id="rId3" Type="http://schemas.openxmlformats.org/officeDocument/2006/relationships/chart" Target="../charts/chart1046.xml"/></Relationships>
</file>

<file path=ppt/slides/_rels/slide5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47.xml"/><Relationship Id="rId3" Type="http://schemas.openxmlformats.org/officeDocument/2006/relationships/chart" Target="../charts/chart1048.xml"/></Relationships>
</file>

<file path=ppt/slides/_rels/slide5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1.xml"/><Relationship Id="rId3" Type="http://schemas.openxmlformats.org/officeDocument/2006/relationships/chart" Target="../charts/chart10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 Id="rId6" Type="http://schemas.openxmlformats.org/officeDocument/2006/relationships/chart" Target="../charts/chart106.xml"/></Relationships>
</file>

<file path=ppt/slides/_rels/slide5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9.xml"/><Relationship Id="rId3" Type="http://schemas.openxmlformats.org/officeDocument/2006/relationships/chart" Target="../charts/chart1060.xml"/></Relationships>
</file>

<file path=ppt/slides/_rels/slide5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1.xml"/><Relationship Id="rId3" Type="http://schemas.openxmlformats.org/officeDocument/2006/relationships/chart" Target="../charts/chart1062.xml"/></Relationships>
</file>

<file path=ppt/slides/_rels/slide5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7.xml"/><Relationship Id="rId3" Type="http://schemas.openxmlformats.org/officeDocument/2006/relationships/chart" Target="../charts/chart1068.xml"/></Relationships>
</file>

<file path=ppt/slides/_rels/slide5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9.xml"/><Relationship Id="rId3" Type="http://schemas.openxmlformats.org/officeDocument/2006/relationships/chart" Target="../charts/chart1070.xml"/></Relationships>
</file>

<file path=ppt/slides/_rels/slide5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1.xml"/><Relationship Id="rId3" Type="http://schemas.openxmlformats.org/officeDocument/2006/relationships/chart" Target="../charts/chart1072.xml"/></Relationships>
</file>

<file path=ppt/slides/_rels/slide5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3.xml"/><Relationship Id="rId3" Type="http://schemas.openxmlformats.org/officeDocument/2006/relationships/chart" Target="../charts/chart1074.xml"/></Relationships>
</file>

<file path=ppt/slides/_rels/slide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5.xml"/><Relationship Id="rId3" Type="http://schemas.openxmlformats.org/officeDocument/2006/relationships/chart" Target="../charts/chart107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 Id="rId6" Type="http://schemas.openxmlformats.org/officeDocument/2006/relationships/chart" Target="../charts/chart108.xml"/></Relationships>
</file>

<file path=ppt/slides/_rels/slide5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1.xml"/><Relationship Id="rId3" Type="http://schemas.openxmlformats.org/officeDocument/2006/relationships/chart" Target="../charts/chart1082.xml"/></Relationships>
</file>

<file path=ppt/slides/_rels/slide5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9.xml"/><Relationship Id="rId3" Type="http://schemas.openxmlformats.org/officeDocument/2006/relationships/chart" Target="../charts/chart1090.xml"/></Relationships>
</file>

<file path=ppt/slides/_rels/slide5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5.xml"/><Relationship Id="rId3" Type="http://schemas.openxmlformats.org/officeDocument/2006/relationships/chart" Target="../charts/chart1096.xml"/></Relationships>
</file>

<file path=ppt/slides/_rels/slide5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03.xml"/><Relationship Id="rId3" Type="http://schemas.openxmlformats.org/officeDocument/2006/relationships/chart" Target="../charts/chart1104.xml"/></Relationships>
</file>

<file path=ppt/slides/_rels/slide5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05.xml"/><Relationship Id="rId3" Type="http://schemas.openxmlformats.org/officeDocument/2006/relationships/chart" Target="../charts/chart1106.xml"/></Relationships>
</file>

<file path=ppt/slides/_rels/slide5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7.xml"/><Relationship Id="rId3" Type="http://schemas.openxmlformats.org/officeDocument/2006/relationships/chart" Target="../charts/chart1118.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 Id="rId6" Type="http://schemas.openxmlformats.org/officeDocument/2006/relationships/chart" Target="../charts/chart112.xml"/></Relationships>
</file>

<file path=ppt/slides/_rels/slide5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9.xml"/><Relationship Id="rId3" Type="http://schemas.openxmlformats.org/officeDocument/2006/relationships/chart" Target="../charts/chart1120.xml"/></Relationships>
</file>

<file path=ppt/slides/_rels/slide5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25.xml"/><Relationship Id="rId3" Type="http://schemas.openxmlformats.org/officeDocument/2006/relationships/chart" Target="../charts/chart1126.xml"/></Relationships>
</file>

<file path=ppt/slides/_rels/slide5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1.xml"/><Relationship Id="rId3" Type="http://schemas.openxmlformats.org/officeDocument/2006/relationships/chart" Target="../charts/chart1132.xml"/></Relationships>
</file>

<file path=ppt/slides/_rels/slide5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9.xml"/><Relationship Id="rId3" Type="http://schemas.openxmlformats.org/officeDocument/2006/relationships/chart" Target="../charts/chart1140.xml"/></Relationships>
</file>

<file path=ppt/slides/_rels/slide5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47.xml"/><Relationship Id="rId3" Type="http://schemas.openxmlformats.org/officeDocument/2006/relationships/chart" Target="../charts/chart1148.xml"/></Relationships>
</file>

<file path=ppt/slides/_rels/slide5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49.xml"/><Relationship Id="rId3" Type="http://schemas.openxmlformats.org/officeDocument/2006/relationships/chart" Target="../charts/chart1150.xml"/></Relationships>
</file>

<file path=ppt/slides/_rels/slide5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1.xml"/><Relationship Id="rId3" Type="http://schemas.openxmlformats.org/officeDocument/2006/relationships/chart" Target="../charts/chart1152.xml"/></Relationships>
</file>

<file path=ppt/slides/_rels/slide5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3.xml"/><Relationship Id="rId3" Type="http://schemas.openxmlformats.org/officeDocument/2006/relationships/chart" Target="../charts/chart1154.xml"/></Relationships>
</file>

<file path=ppt/slides/_rels/slide5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1.xml"/><Relationship Id="rId3" Type="http://schemas.openxmlformats.org/officeDocument/2006/relationships/chart" Target="../charts/chart1162.xml"/></Relationships>
</file>

<file path=ppt/slides/_rels/slide5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3.xml"/><Relationship Id="rId3" Type="http://schemas.openxmlformats.org/officeDocument/2006/relationships/chart" Target="../charts/chart1164.xml"/></Relationships>
</file>

<file path=ppt/slides/_rels/slide5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9.xml"/><Relationship Id="rId3" Type="http://schemas.openxmlformats.org/officeDocument/2006/relationships/chart" Target="../charts/chart1170.xml"/></Relationships>
</file>

<file path=ppt/slides/_rels/slide5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3.xml"/><Relationship Id="rId3" Type="http://schemas.openxmlformats.org/officeDocument/2006/relationships/chart" Target="../charts/chart1174.xml"/></Relationships>
</file>

<file path=ppt/slides/_rels/slide5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5.xml"/><Relationship Id="rId3" Type="http://schemas.openxmlformats.org/officeDocument/2006/relationships/chart" Target="../charts/chart1176.xml"/></Relationships>
</file>

<file path=ppt/slides/_rels/slide5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3.xml"/><Relationship Id="rId3" Type="http://schemas.openxmlformats.org/officeDocument/2006/relationships/chart" Target="../charts/chart1184.xml"/></Relationships>
</file>

<file path=ppt/slides/_rels/slide5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3.xml"/><Relationship Id="rId3" Type="http://schemas.openxmlformats.org/officeDocument/2006/relationships/chart" Target="../charts/chart1194.xml"/></Relationships>
</file>

<file path=ppt/slides/_rels/slide5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5.xml"/><Relationship Id="rId3" Type="http://schemas.openxmlformats.org/officeDocument/2006/relationships/chart" Target="../charts/chart119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 Id="rId6" Type="http://schemas.openxmlformats.org/officeDocument/2006/relationships/chart" Target="../charts/chart120.xml"/></Relationships>
</file>

<file path=ppt/slides/_rels/slide6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1.xml"/><Relationship Id="rId3" Type="http://schemas.openxmlformats.org/officeDocument/2006/relationships/chart" Target="../charts/chart1202.xml"/></Relationships>
</file>

<file path=ppt/slides/_rels/slide6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3.xml"/><Relationship Id="rId3" Type="http://schemas.openxmlformats.org/officeDocument/2006/relationships/chart" Target="../charts/chart1204.xml"/></Relationships>
</file>

<file path=ppt/slides/_rels/slide6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5.xml"/><Relationship Id="rId3" Type="http://schemas.openxmlformats.org/officeDocument/2006/relationships/chart" Target="../charts/chart1216.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 Id="rId6" Type="http://schemas.openxmlformats.org/officeDocument/2006/relationships/chart" Target="../charts/chart122.xml"/></Relationships>
</file>

<file path=ppt/slides/_rels/slide6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3.xml"/><Relationship Id="rId3" Type="http://schemas.openxmlformats.org/officeDocument/2006/relationships/chart" Target="../charts/chart1224.xml"/></Relationships>
</file>

<file path=ppt/slides/_rels/slide6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5.xml"/><Relationship Id="rId3" Type="http://schemas.openxmlformats.org/officeDocument/2006/relationships/chart" Target="../charts/chart1226.xml"/></Relationships>
</file>

<file path=ppt/slides/_rels/slide6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7.xml"/><Relationship Id="rId3" Type="http://schemas.openxmlformats.org/officeDocument/2006/relationships/chart" Target="../charts/chart1238.xml"/></Relationships>
</file>

<file path=ppt/slides/_rels/slide6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9.xml"/><Relationship Id="rId3" Type="http://schemas.openxmlformats.org/officeDocument/2006/relationships/chart" Target="../charts/chart1240.xml"/></Relationships>
</file>

<file path=ppt/slides/_rels/slide6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5.xml"/><Relationship Id="rId3" Type="http://schemas.openxmlformats.org/officeDocument/2006/relationships/chart" Target="../charts/chart1246.xml"/></Relationships>
</file>

<file path=ppt/slides/_rels/slide6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7.xml"/><Relationship Id="rId3" Type="http://schemas.openxmlformats.org/officeDocument/2006/relationships/chart" Target="../charts/chart1248.xml"/></Relationships>
</file>

<file path=ppt/slides/_rels/slide6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1.xml"/><Relationship Id="rId3" Type="http://schemas.openxmlformats.org/officeDocument/2006/relationships/chart" Target="../charts/chart1252.xml"/></Relationships>
</file>

<file path=ppt/slides/_rels/slide6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3.xml"/><Relationship Id="rId3" Type="http://schemas.openxmlformats.org/officeDocument/2006/relationships/chart" Target="../charts/chart1254.xml"/></Relationships>
</file>

<file path=ppt/slides/_rels/slide6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9.xml"/><Relationship Id="rId3" Type="http://schemas.openxmlformats.org/officeDocument/2006/relationships/chart" Target="../charts/chart1260.xml"/></Relationships>
</file>

<file path=ppt/slides/_rels/slide6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7.xml"/><Relationship Id="rId3" Type="http://schemas.openxmlformats.org/officeDocument/2006/relationships/chart" Target="../charts/chart1268.xml"/></Relationships>
</file>

<file path=ppt/slides/_rels/slide6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9.xml"/><Relationship Id="rId3" Type="http://schemas.openxmlformats.org/officeDocument/2006/relationships/chart" Target="../charts/chart1270.xml"/></Relationships>
</file>

<file path=ppt/slides/_rels/slide6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3.xml"/><Relationship Id="rId3" Type="http://schemas.openxmlformats.org/officeDocument/2006/relationships/chart" Target="../charts/chart1274.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 Id="rId6" Type="http://schemas.openxmlformats.org/officeDocument/2006/relationships/chart" Target="../charts/chart128.xml"/></Relationships>
</file>

<file path=ppt/slides/_rels/slide6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1.xml"/><Relationship Id="rId3" Type="http://schemas.openxmlformats.org/officeDocument/2006/relationships/chart" Target="../charts/chart1282.xml"/></Relationships>
</file>

<file path=ppt/slides/_rels/slide6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3.xml"/><Relationship Id="rId3" Type="http://schemas.openxmlformats.org/officeDocument/2006/relationships/chart" Target="../charts/chart1284.xml"/></Relationships>
</file>

<file path=ppt/slides/_rels/slide6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5.xml"/><Relationship Id="rId3" Type="http://schemas.openxmlformats.org/officeDocument/2006/relationships/chart" Target="../charts/chart1296.xml"/></Relationships>
</file>

<file path=ppt/slides/_rels/slide6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7.xml"/><Relationship Id="rId3" Type="http://schemas.openxmlformats.org/officeDocument/2006/relationships/chart" Target="../charts/chart1298.xml"/></Relationships>
</file>

<file path=ppt/slides/_rels/slide6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3.xml"/><Relationship Id="rId3" Type="http://schemas.openxmlformats.org/officeDocument/2006/relationships/chart" Target="../charts/chart1304.xml"/></Relationships>
</file>

<file path=ppt/slides/_rels/slide6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5.xml"/><Relationship Id="rId3" Type="http://schemas.openxmlformats.org/officeDocument/2006/relationships/chart" Target="../charts/chart1306.xml"/></Relationships>
</file>

<file path=ppt/slides/_rels/slide6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7.xml"/><Relationship Id="rId3" Type="http://schemas.openxmlformats.org/officeDocument/2006/relationships/chart" Target="../charts/chart1318.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 Id="rId6" Type="http://schemas.openxmlformats.org/officeDocument/2006/relationships/chart" Target="../charts/chart132.xml"/></Relationships>
</file>

<file path=ppt/slides/_rels/slide6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5.xml"/><Relationship Id="rId3" Type="http://schemas.openxmlformats.org/officeDocument/2006/relationships/chart" Target="../charts/chart1326.xml"/></Relationships>
</file>

<file path=ppt/slides/_rels/slide6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7.xml"/><Relationship Id="rId3" Type="http://schemas.openxmlformats.org/officeDocument/2006/relationships/chart" Target="../charts/chart1328.xml"/></Relationships>
</file>

<file path=ppt/slides/_rels/slide6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1.xml"/><Relationship Id="rId3" Type="http://schemas.openxmlformats.org/officeDocument/2006/relationships/chart" Target="../charts/chart1332.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 Id="rId6" Type="http://schemas.openxmlformats.org/officeDocument/2006/relationships/chart" Target="../charts/chart134.xml"/></Relationships>
</file>

<file path=ppt/slides/_rels/slide6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9.xml"/><Relationship Id="rId3" Type="http://schemas.openxmlformats.org/officeDocument/2006/relationships/chart" Target="../charts/chart1340.xml"/></Relationships>
</file>

<file path=ppt/slides/_rels/slide6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1.xml"/><Relationship Id="rId3" Type="http://schemas.openxmlformats.org/officeDocument/2006/relationships/chart" Target="../charts/chart1342.xml"/></Relationships>
</file>

<file path=ppt/slides/_rels/slide6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7.xml"/><Relationship Id="rId3" Type="http://schemas.openxmlformats.org/officeDocument/2006/relationships/chart" Target="../charts/chart1348.xml"/></Relationships>
</file>

<file path=ppt/slides/_rels/slide6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9.xml"/><Relationship Id="rId3" Type="http://schemas.openxmlformats.org/officeDocument/2006/relationships/chart" Target="../charts/chart1350.xml"/></Relationships>
</file>

<file path=ppt/slides/_rels/slide6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1.xml"/><Relationship Id="rId3" Type="http://schemas.openxmlformats.org/officeDocument/2006/relationships/chart" Target="../charts/chart1352.xml"/></Relationships>
</file>

<file path=ppt/slides/_rels/slide6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3.xml"/><Relationship Id="rId3" Type="http://schemas.openxmlformats.org/officeDocument/2006/relationships/chart" Target="../charts/chart1354.xml"/></Relationships>
</file>

<file path=ppt/slides/_rels/slide6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5.xml"/><Relationship Id="rId3" Type="http://schemas.openxmlformats.org/officeDocument/2006/relationships/chart" Target="../charts/chart1356.xml"/></Relationships>
</file>

<file path=ppt/slides/_rels/slide6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1.xml"/><Relationship Id="rId3" Type="http://schemas.openxmlformats.org/officeDocument/2006/relationships/chart" Target="../charts/chart1362.xml"/></Relationships>
</file>

<file path=ppt/slides/_rels/slide6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9.xml"/><Relationship Id="rId3" Type="http://schemas.openxmlformats.org/officeDocument/2006/relationships/chart" Target="../charts/chart1370.xml"/></Relationships>
</file>

<file path=ppt/slides/_rels/slide6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5.xml"/><Relationship Id="rId3" Type="http://schemas.openxmlformats.org/officeDocument/2006/relationships/chart" Target="../charts/chart1376.xml"/></Relationships>
</file>

<file path=ppt/slides/_rels/slide6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3.xml"/><Relationship Id="rId3" Type="http://schemas.openxmlformats.org/officeDocument/2006/relationships/chart" Target="../charts/chart1384.xml"/></Relationships>
</file>

<file path=ppt/slides/_rels/slide6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5.xml"/><Relationship Id="rId3" Type="http://schemas.openxmlformats.org/officeDocument/2006/relationships/chart" Target="../charts/chart1386.xml"/></Relationships>
</file>

<file path=ppt/slides/_rels/slide6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3.xml"/><Relationship Id="rId3" Type="http://schemas.openxmlformats.org/officeDocument/2006/relationships/chart" Target="../charts/chart1394.xml"/></Relationships>
</file>

<file path=ppt/slides/_rels/slide7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1.xml"/><Relationship Id="rId3" Type="http://schemas.openxmlformats.org/officeDocument/2006/relationships/chart" Target="../charts/chart1402.xml"/></Relationships>
</file>

<file path=ppt/slides/_rels/slide7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3.xml"/><Relationship Id="rId3" Type="http://schemas.openxmlformats.org/officeDocument/2006/relationships/chart" Target="../charts/chart1404.xml"/></Relationships>
</file>

<file path=ppt/slides/_rels/slide7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5.xml"/><Relationship Id="rId3" Type="http://schemas.openxmlformats.org/officeDocument/2006/relationships/chart" Target="../charts/chart1406.xml"/></Relationships>
</file>

<file path=ppt/slides/_rels/slide7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5.xml"/><Relationship Id="rId3" Type="http://schemas.openxmlformats.org/officeDocument/2006/relationships/chart" Target="../charts/chart1416.xml"/></Relationships>
</file>

<file path=ppt/slides/_rels/slide7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7.xml"/><Relationship Id="rId3" Type="http://schemas.openxmlformats.org/officeDocument/2006/relationships/chart" Target="../charts/chart1418.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 Id="rId6" Type="http://schemas.openxmlformats.org/officeDocument/2006/relationships/chart" Target="../charts/chart142.xml"/></Relationships>
</file>

<file path=ppt/slides/_rels/slide7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5.xml"/><Relationship Id="rId3" Type="http://schemas.openxmlformats.org/officeDocument/2006/relationships/chart" Target="../charts/chart1426.xml"/></Relationships>
</file>

<file path=ppt/slides/_rels/slide7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1.xml"/><Relationship Id="rId3" Type="http://schemas.openxmlformats.org/officeDocument/2006/relationships/chart" Target="../charts/chart1432.xml"/></Relationships>
</file>

<file path=ppt/slides/_rels/slide7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7.xml"/><Relationship Id="rId3" Type="http://schemas.openxmlformats.org/officeDocument/2006/relationships/chart" Target="../charts/chart1438.xml"/></Relationships>
</file>

<file path=ppt/slides/_rels/slide7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9.xml"/><Relationship Id="rId3" Type="http://schemas.openxmlformats.org/officeDocument/2006/relationships/chart" Target="../charts/chart1440.xml"/></Relationships>
</file>

<file path=ppt/slides/_rels/slide7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7.xml"/><Relationship Id="rId3" Type="http://schemas.openxmlformats.org/officeDocument/2006/relationships/chart" Target="../charts/chart1448.xml"/></Relationships>
</file>

<file path=ppt/slides/_rels/slide7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9.xml"/><Relationship Id="rId3" Type="http://schemas.openxmlformats.org/officeDocument/2006/relationships/chart" Target="../charts/chart1450.xml"/></Relationships>
</file>

<file path=ppt/slides/_rels/slide7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1.xml"/><Relationship Id="rId3" Type="http://schemas.openxmlformats.org/officeDocument/2006/relationships/chart" Target="../charts/chart1452.xml"/></Relationships>
</file>

<file path=ppt/slides/_rels/slide7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9.xml"/><Relationship Id="rId3" Type="http://schemas.openxmlformats.org/officeDocument/2006/relationships/chart" Target="../charts/chart1460.xml"/></Relationships>
</file>

<file path=ppt/slides/_rels/slide7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1.xml"/><Relationship Id="rId3" Type="http://schemas.openxmlformats.org/officeDocument/2006/relationships/chart" Target="../charts/chart1462.xml"/></Relationships>
</file>

<file path=ppt/slides/_rels/slide7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9.xml"/><Relationship Id="rId3" Type="http://schemas.openxmlformats.org/officeDocument/2006/relationships/chart" Target="../charts/chart1470.xml"/></Relationships>
</file>

<file path=ppt/slides/_rels/slide7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3.xml"/><Relationship Id="rId3" Type="http://schemas.openxmlformats.org/officeDocument/2006/relationships/chart" Target="../charts/chart1474.xml"/></Relationships>
</file>

<file path=ppt/slides/_rels/slide7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5.xml"/><Relationship Id="rId3" Type="http://schemas.openxmlformats.org/officeDocument/2006/relationships/chart" Target="../charts/chart1476.xml"/></Relationships>
</file>

<file path=ppt/slides/_rels/slide7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1.xml"/><Relationship Id="rId3" Type="http://schemas.openxmlformats.org/officeDocument/2006/relationships/chart" Target="../charts/chart1482.xml"/></Relationships>
</file>

<file path=ppt/slides/_rels/slide7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3.xml"/><Relationship Id="rId3" Type="http://schemas.openxmlformats.org/officeDocument/2006/relationships/chart" Target="../charts/chart1484.xml"/></Relationships>
</file>

<file path=ppt/slides/_rels/slide7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5.xml"/><Relationship Id="rId3" Type="http://schemas.openxmlformats.org/officeDocument/2006/relationships/chart" Target="../charts/chart1496.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 Id="rId6" Type="http://schemas.openxmlformats.org/officeDocument/2006/relationships/chart" Target="../charts/chart150.xml"/></Relationships>
</file>

<file path=ppt/slides/_rels/slide7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3.xml"/><Relationship Id="rId3" Type="http://schemas.openxmlformats.org/officeDocument/2006/relationships/chart" Target="../charts/chart1504.xml"/></Relationships>
</file>

<file path=ppt/slides/_rels/slide7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5.xml"/><Relationship Id="rId3" Type="http://schemas.openxmlformats.org/officeDocument/2006/relationships/chart" Target="../charts/chart1506.xml"/></Relationships>
</file>

<file path=ppt/slides/_rels/slide7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7.xml"/><Relationship Id="rId3" Type="http://schemas.openxmlformats.org/officeDocument/2006/relationships/chart" Target="../charts/chart1518.xml"/></Relationships>
</file>

<file path=ppt/slides/_rels/slide7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9.xml"/><Relationship Id="rId3" Type="http://schemas.openxmlformats.org/officeDocument/2006/relationships/chart" Target="../charts/chart1520.xml"/></Relationships>
</file>

<file path=ppt/slides/_rels/slide7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5.xml"/><Relationship Id="rId3" Type="http://schemas.openxmlformats.org/officeDocument/2006/relationships/chart" Target="../charts/chart1526.xml"/></Relationships>
</file>

<file path=ppt/slides/_rels/slide7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7.xml"/><Relationship Id="rId3" Type="http://schemas.openxmlformats.org/officeDocument/2006/relationships/chart" Target="../charts/chart1528.xml"/></Relationships>
</file>

<file path=ppt/slides/_rels/slide7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1.xml"/><Relationship Id="rId3" Type="http://schemas.openxmlformats.org/officeDocument/2006/relationships/chart" Target="../charts/chart1532.xml"/></Relationships>
</file>

<file path=ppt/slides/_rels/slide7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3.xml"/><Relationship Id="rId3" Type="http://schemas.openxmlformats.org/officeDocument/2006/relationships/chart" Target="../charts/chart1534.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 Id="rId6" Type="http://schemas.openxmlformats.org/officeDocument/2006/relationships/chart" Target="../charts/chart154.xml"/></Relationships>
</file>

<file path=ppt/slides/_rels/slide7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9.xml"/><Relationship Id="rId3" Type="http://schemas.openxmlformats.org/officeDocument/2006/relationships/chart" Target="../charts/chart1540.xml"/></Relationships>
</file>

<file path=ppt/slides/_rels/slide7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7.xml"/><Relationship Id="rId3" Type="http://schemas.openxmlformats.org/officeDocument/2006/relationships/chart" Target="../charts/chart1548.xml"/></Relationships>
</file>

<file path=ppt/slides/_rels/slide7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9.xml"/><Relationship Id="rId3" Type="http://schemas.openxmlformats.org/officeDocument/2006/relationships/chart" Target="../charts/chart1550.xml"/></Relationships>
</file>

<file path=ppt/slides/_rels/slide7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3.xml"/><Relationship Id="rId3" Type="http://schemas.openxmlformats.org/officeDocument/2006/relationships/chart" Target="../charts/chart155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 Id="rId6" Type="http://schemas.openxmlformats.org/officeDocument/2006/relationships/chart" Target="../charts/chart156.xml"/></Relationships>
</file>

<file path=ppt/slides/_rels/slide7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1561.xml"/><Relationship Id="rId4"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1563.xml"/><Relationship Id="rId4" Type="http://schemas.openxmlformats.org/officeDocument/2006/relationships/chart" Target="../charts/chart1564.xml"/></Relationships>
</file>

<file path=ppt/slides/_rels/slide7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1575.xml"/><Relationship Id="rId4"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1577.xml"/><Relationship Id="rId4" Type="http://schemas.openxmlformats.org/officeDocument/2006/relationships/chart" Target="../charts/chart1578.xml"/></Relationships>
</file>

<file path=ppt/slides/_rels/slide7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583.xml"/><Relationship Id="rId4" Type="http://schemas.openxmlformats.org/officeDocument/2006/relationships/chart" Target="../charts/chart1584.xml"/></Relationships>
</file>

<file path=ppt/slides/_rels/slide7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1593.xml"/><Relationship Id="rId4"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1595.xml"/><Relationship Id="rId4" Type="http://schemas.openxmlformats.org/officeDocument/2006/relationships/chart" Target="../charts/chart1596.xml"/></Relationships>
</file>

<file path=ppt/slides/_rels/slide8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1603.xml"/><Relationship Id="rId4" Type="http://schemas.openxmlformats.org/officeDocument/2006/relationships/chart" Target="../charts/chart1604.xml"/></Relationships>
</file>

<file path=ppt/slides/_rels/slide8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615.xml"/><Relationship Id="rId4" Type="http://schemas.openxmlformats.org/officeDocument/2006/relationships/chart" Target="../charts/chart1616.xml"/></Relationships>
</file>

<file path=ppt/slides/_rels/slide8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1617.xml"/><Relationship Id="rId4" Type="http://schemas.openxmlformats.org/officeDocument/2006/relationships/chart" Target="../charts/chart1618.xml"/></Relationships>
</file>

<file path=ppt/slides/_rels/slide8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625.xml"/><Relationship Id="rId4"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627.xml"/><Relationship Id="rId4" Type="http://schemas.openxmlformats.org/officeDocument/2006/relationships/chart" Target="../charts/chart1628.xml"/></Relationships>
</file>

<file path=ppt/slides/_rels/slide8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637.xml"/><Relationship Id="rId4"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 Id="rId6" Type="http://schemas.openxmlformats.org/officeDocument/2006/relationships/chart" Target="../charts/chart164.xml"/></Relationships>
</file>

<file path=ppt/slides/_rels/slide8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639.xml"/><Relationship Id="rId4" Type="http://schemas.openxmlformats.org/officeDocument/2006/relationships/chart" Target="../charts/chart1640.xml"/></Relationships>
</file>

<file path=ppt/slides/_rels/slide8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1647.xml"/><Relationship Id="rId4" Type="http://schemas.openxmlformats.org/officeDocument/2006/relationships/chart" Target="../charts/chart1648.xml"/></Relationships>
</file>

<file path=ppt/slides/_rels/slide8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1651.xml"/><Relationship Id="rId4"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chart" Target="../charts/chart1653.xml"/><Relationship Id="rId4" Type="http://schemas.openxmlformats.org/officeDocument/2006/relationships/chart" Target="../charts/chart165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 Id="rId6" Type="http://schemas.openxmlformats.org/officeDocument/2006/relationships/chart" Target="../charts/chart166.xml"/></Relationships>
</file>

<file path=ppt/slides/_rels/slide8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1659.xml"/><Relationship Id="rId4" Type="http://schemas.openxmlformats.org/officeDocument/2006/relationships/chart" Target="../charts/chart1660.xml"/></Relationships>
</file>

<file path=ppt/slides/_rels/slide8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xml"/><Relationship Id="rId3" Type="http://schemas.openxmlformats.org/officeDocument/2006/relationships/chart" Target="../charts/chart1661.xml"/><Relationship Id="rId4" Type="http://schemas.openxmlformats.org/officeDocument/2006/relationships/chart" Target="../charts/chart1662.xml"/></Relationships>
</file>

<file path=ppt/slides/_rels/slide8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1669.xml"/><Relationship Id="rId4" Type="http://schemas.openxmlformats.org/officeDocument/2006/relationships/chart" Target="../charts/chart1670.xml"/></Relationships>
</file>

<file path=ppt/slides/_rels/slide8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1673.xml"/><Relationship Id="rId4" Type="http://schemas.openxmlformats.org/officeDocument/2006/relationships/chart" Target="../charts/chart1674.xml"/></Relationships>
</file>

<file path=ppt/slides/_rels/slide8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1681.xml"/><Relationship Id="rId4" Type="http://schemas.openxmlformats.org/officeDocument/2006/relationships/chart" Target="../charts/chart1682.xml"/></Relationships>
</file>

<file path=ppt/slides/_rels/slide8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1683.xml"/><Relationship Id="rId4"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1685.xml"/><Relationship Id="rId4" Type="http://schemas.openxmlformats.org/officeDocument/2006/relationships/chart" Target="../charts/chart1686.xml"/></Relationships>
</file>

<file path=ppt/slides/_rels/slide8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xml"/><Relationship Id="rId3" Type="http://schemas.openxmlformats.org/officeDocument/2006/relationships/chart" Target="../charts/chart1695.xml"/><Relationship Id="rId4"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xml"/><Relationship Id="rId3" Type="http://schemas.openxmlformats.org/officeDocument/2006/relationships/chart" Target="../charts/chart1697.xml"/><Relationship Id="rId4" Type="http://schemas.openxmlformats.org/officeDocument/2006/relationships/chart" Target="../charts/chart1698.xml"/></Relationships>
</file>

<file path=ppt/slides/_rels/slide8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1705.xml"/><Relationship Id="rId4" Type="http://schemas.openxmlformats.org/officeDocument/2006/relationships/chart" Target="../charts/chart1706.xml"/></Relationships>
</file>

<file path=ppt/slides/_rels/slide8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xml"/><Relationship Id="rId3" Type="http://schemas.openxmlformats.org/officeDocument/2006/relationships/chart" Target="../charts/chart1711.xml"/><Relationship Id="rId4" Type="http://schemas.openxmlformats.org/officeDocument/2006/relationships/chart" Target="../charts/chart1712.xml"/></Relationships>
</file>

<file path=ppt/slides/_rels/slide859.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17.xml"/><Relationship Id="rId7" Type="http://schemas.openxmlformats.org/officeDocument/2006/relationships/chart" Target="../charts/chart1718.xml"/></Relationships>
</file>

<file path=ppt/slides/_rels/slide860.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19.xml"/><Relationship Id="rId7" Type="http://schemas.openxmlformats.org/officeDocument/2006/relationships/chart" Target="../charts/chart1720.xml"/></Relationships>
</file>

<file path=ppt/slides/_rels/slide864.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27.xml"/><Relationship Id="rId7" Type="http://schemas.openxmlformats.org/officeDocument/2006/relationships/chart" Target="../charts/chart1728.xml"/></Relationships>
</file>

<file path=ppt/slides/_rels/slide865.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29.xml"/><Relationship Id="rId7" Type="http://schemas.openxmlformats.org/officeDocument/2006/relationships/chart" Target="../charts/chart1730.xml"/></Relationships>
</file>

<file path=ppt/slides/_rels/slide866.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31.xml"/><Relationship Id="rId7" Type="http://schemas.openxmlformats.org/officeDocument/2006/relationships/chart" Target="../charts/chart1732.xml"/></Relationships>
</file>

<file path=ppt/slides/_rels/slide870.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39.xml"/><Relationship Id="rId7" Type="http://schemas.openxmlformats.org/officeDocument/2006/relationships/chart" Target="../charts/chart1740.xml"/></Relationships>
</file>

<file path=ppt/slides/_rels/slide871.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41.xml"/><Relationship Id="rId7" Type="http://schemas.openxmlformats.org/officeDocument/2006/relationships/chart" Target="../charts/chart1742.xml"/></Relationships>
</file>

<file path=ppt/slides/_rels/slide875.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49.xml"/><Relationship Id="rId7" Type="http://schemas.openxmlformats.org/officeDocument/2006/relationships/chart" Target="../charts/chart1750.xml"/></Relationships>
</file>

<file path=ppt/slides/_rels/slide877.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53.xml"/><Relationship Id="rId7" Type="http://schemas.openxmlformats.org/officeDocument/2006/relationships/chart" Target="../charts/chart1754.xml"/></Relationships>
</file>

<file path=ppt/slides/_rels/slide878.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55.xml"/><Relationship Id="rId7" Type="http://schemas.openxmlformats.org/officeDocument/2006/relationships/chart" Target="../charts/chart1756.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 Id="rId6" Type="http://schemas.openxmlformats.org/officeDocument/2006/relationships/chart" Target="../charts/chart176.xml"/></Relationships>
</file>

<file path=ppt/slides/_rels/slide881.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61.xml"/><Relationship Id="rId7" Type="http://schemas.openxmlformats.org/officeDocument/2006/relationships/chart" Target="../charts/chart1762.xml"/></Relationships>
</file>

<file path=ppt/slides/_rels/slide882.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63.xml"/><Relationship Id="rId7" Type="http://schemas.openxmlformats.org/officeDocument/2006/relationships/chart" Target="../charts/chart1764.xml"/></Relationships>
</file>

<file path=ppt/slides/_rels/slide888.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75.xml"/><Relationship Id="rId7" Type="http://schemas.openxmlformats.org/officeDocument/2006/relationships/chart" Target="../charts/chart17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 Id="rId6" Type="http://schemas.openxmlformats.org/officeDocument/2006/relationships/chart" Target="../charts/chart178.xml"/></Relationships>
</file>

<file path=ppt/slides/_rels/slide892.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83.xml"/><Relationship Id="rId7" Type="http://schemas.openxmlformats.org/officeDocument/2006/relationships/chart" Target="../charts/chart1784.xml"/></Relationships>
</file>

<file path=ppt/slides/_rels/slide893.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85.xml"/><Relationship Id="rId7" Type="http://schemas.openxmlformats.org/officeDocument/2006/relationships/chart" Target="../charts/chart1786.xml"/></Relationships>
</file>

<file path=ppt/slides/_rels/slide897.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93.xml"/><Relationship Id="rId7" Type="http://schemas.openxmlformats.org/officeDocument/2006/relationships/chart" Target="../charts/chart1794.xml"/></Relationships>
</file>

<file path=ppt/slides/_rels/slide898.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795.xml"/><Relationship Id="rId7" Type="http://schemas.openxmlformats.org/officeDocument/2006/relationships/chart" Target="../charts/chart17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2.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03.xml"/><Relationship Id="rId7" Type="http://schemas.openxmlformats.org/officeDocument/2006/relationships/chart" Target="../charts/chart1804.xml"/></Relationships>
</file>

<file path=ppt/slides/_rels/slide903.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05.xml"/><Relationship Id="rId7" Type="http://schemas.openxmlformats.org/officeDocument/2006/relationships/chart" Target="../charts/chart1806.xml"/></Relationships>
</file>

<file path=ppt/slides/_rels/slide909.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17.xml"/><Relationship Id="rId7" Type="http://schemas.openxmlformats.org/officeDocument/2006/relationships/chart" Target="../charts/chart1818.xml"/></Relationships>
</file>

<file path=ppt/slides/_rels/slide910.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19.xml"/><Relationship Id="rId7" Type="http://schemas.openxmlformats.org/officeDocument/2006/relationships/chart" Target="../charts/chart1820.xml"/></Relationships>
</file>

<file path=ppt/slides/_rels/slide913.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25.xml"/><Relationship Id="rId7" Type="http://schemas.openxmlformats.org/officeDocument/2006/relationships/chart" Target="../charts/chart1826.xml"/></Relationships>
</file>

<file path=ppt/slides/_rels/slide916.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31.xml"/><Relationship Id="rId7" Type="http://schemas.openxmlformats.org/officeDocument/2006/relationships/chart" Target="../charts/chart1832.xml"/></Relationships>
</file>

<file path=ppt/slides/_rels/slide920.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39.xml"/><Relationship Id="rId7" Type="http://schemas.openxmlformats.org/officeDocument/2006/relationships/chart" Target="../charts/chart1840.xml"/></Relationships>
</file>

<file path=ppt/slides/_rels/slide924.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47.xml"/><Relationship Id="rId7" Type="http://schemas.openxmlformats.org/officeDocument/2006/relationships/chart" Target="../charts/chart1848.xml"/></Relationships>
</file>

<file path=ppt/slides/_rels/slide925.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49.xml"/><Relationship Id="rId7" Type="http://schemas.openxmlformats.org/officeDocument/2006/relationships/chart" Target="../charts/chart1850.xml"/></Relationships>
</file>

<file path=ppt/slides/_rels/slide926.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51.xml"/><Relationship Id="rId7" Type="http://schemas.openxmlformats.org/officeDocument/2006/relationships/chart" Target="../charts/chart1852.xml"/></Relationships>
</file>

<file path=ppt/slides/_rels/slide927.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53.xml"/><Relationship Id="rId7" Type="http://schemas.openxmlformats.org/officeDocument/2006/relationships/chart" Target="../charts/chart1854.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 Id="rId6" Type="http://schemas.openxmlformats.org/officeDocument/2006/relationships/chart" Target="../charts/chart186.xml"/></Relationships>
</file>

<file path=ppt/slides/_rels/slide931.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61.xml"/><Relationship Id="rId7" Type="http://schemas.openxmlformats.org/officeDocument/2006/relationships/chart" Target="../charts/chart1862.xml"/></Relationships>
</file>

<file path=ppt/slides/_rels/slide932.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63.xml"/><Relationship Id="rId7" Type="http://schemas.openxmlformats.org/officeDocument/2006/relationships/chart" Target="../charts/chart1864.xml"/></Relationships>
</file>

<file path=ppt/slides/_rels/slide935.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69.xml"/><Relationship Id="rId7" Type="http://schemas.openxmlformats.org/officeDocument/2006/relationships/chart" Target="../charts/chart1870.xml"/></Relationships>
</file>

<file path=ppt/slides/_rels/slide937.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73.xml"/><Relationship Id="rId7" Type="http://schemas.openxmlformats.org/officeDocument/2006/relationships/chart" Target="../charts/chart1874.xml"/></Relationships>
</file>

<file path=ppt/slides/_rels/slide938.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75.xml"/><Relationship Id="rId7" Type="http://schemas.openxmlformats.org/officeDocument/2006/relationships/chart" Target="../charts/chart1876.xml"/></Relationships>
</file>

<file path=ppt/slides/_rels/slide942.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83.xml"/><Relationship Id="rId7" Type="http://schemas.openxmlformats.org/officeDocument/2006/relationships/chart" Target="../charts/chart1884.xml"/></Relationships>
</file>

<file path=ppt/slides/_rels/slide948.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95.xml"/><Relationship Id="rId7" Type="http://schemas.openxmlformats.org/officeDocument/2006/relationships/chart" Target="../charts/chart1896.xml"/></Relationships>
</file>

<file path=ppt/slides/_rels/slide949.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897.xml"/><Relationship Id="rId7" Type="http://schemas.openxmlformats.org/officeDocument/2006/relationships/chart" Target="../charts/chart1898.xml"/></Relationships>
</file>

<file path=ppt/slides/_rels/slide953.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05.xml"/><Relationship Id="rId7" Type="http://schemas.openxmlformats.org/officeDocument/2006/relationships/chart" Target="../charts/chart1906.xml"/></Relationships>
</file>

<file path=ppt/slides/_rels/slide954.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07.xml"/><Relationship Id="rId7" Type="http://schemas.openxmlformats.org/officeDocument/2006/relationships/chart" Target="../charts/chart1908.xml"/></Relationships>
</file>

<file path=ppt/slides/_rels/slide959.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17.xml"/><Relationship Id="rId7" Type="http://schemas.openxmlformats.org/officeDocument/2006/relationships/chart" Target="../charts/chart1918.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 Id="rId6" Type="http://schemas.openxmlformats.org/officeDocument/2006/relationships/chart" Target="../charts/chart192.xml"/></Relationships>
</file>

<file path=ppt/slides/_rels/slide960.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19.xml"/><Relationship Id="rId7" Type="http://schemas.openxmlformats.org/officeDocument/2006/relationships/chart" Target="../charts/chart1920.xml"/></Relationships>
</file>

<file path=ppt/slides/_rels/slide964.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27.xml"/><Relationship Id="rId7" Type="http://schemas.openxmlformats.org/officeDocument/2006/relationships/chart" Target="../charts/chart1928.xml"/></Relationships>
</file>

<file path=ppt/slides/_rels/slide966.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31.xml"/><Relationship Id="rId7" Type="http://schemas.openxmlformats.org/officeDocument/2006/relationships/chart" Target="../charts/chart1932.xml"/></Relationships>
</file>

<file path=ppt/slides/_rels/slide967.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33.xml"/><Relationship Id="rId7" Type="http://schemas.openxmlformats.org/officeDocument/2006/relationships/chart" Target="../charts/chart1934.xml"/></Relationships>
</file>

<file path=ppt/slides/_rels/slide970.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39.xml"/><Relationship Id="rId7" Type="http://schemas.openxmlformats.org/officeDocument/2006/relationships/chart" Target="../charts/chart1940.xml"/></Relationships>
</file>

<file path=ppt/slides/_rels/slide971.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41.xml"/><Relationship Id="rId7" Type="http://schemas.openxmlformats.org/officeDocument/2006/relationships/chart" Target="../charts/chart1942.xml"/></Relationships>
</file>

<file path=ppt/slides/_rels/slide975.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49.xml"/><Relationship Id="rId7" Type="http://schemas.openxmlformats.org/officeDocument/2006/relationships/chart" Target="../charts/chart1950.xml"/></Relationships>
</file>

<file path=ppt/slides/_rels/slide977.xml.rels><?xml version='1.0' encoding='UTF-8' standalone='yes'?>
<Relationships xmlns="http://schemas.openxmlformats.org/package/2006/relationships"><Relationship Id="rId1" Type="http://schemas.openxmlformats.org/officeDocument/2006/relationships/tags" Target="../tags/tag538.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53.xml"/><Relationship Id="rId7" Type="http://schemas.openxmlformats.org/officeDocument/2006/relationships/chart" Target="../charts/chart1954.xml"/></Relationships>
</file>

<file path=ppt/slides/_rels/slide981.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61.xml"/><Relationship Id="rId7" Type="http://schemas.openxmlformats.org/officeDocument/2006/relationships/chart" Target="../charts/chart1962.xml"/></Relationships>
</file>

<file path=ppt/slides/_rels/slide982.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63.xml"/><Relationship Id="rId7" Type="http://schemas.openxmlformats.org/officeDocument/2006/relationships/chart" Target="../charts/chart1964.xml"/></Relationships>
</file>

<file path=ppt/slides/_rels/slide983.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65.xml"/><Relationship Id="rId7" Type="http://schemas.openxmlformats.org/officeDocument/2006/relationships/chart" Target="../charts/chart1966.xml"/></Relationships>
</file>

<file path=ppt/slides/_rels/slide988.xml.rels><?xml version='1.0' encoding='UTF-8' standalone='yes'?>
<Relationships xmlns="http://schemas.openxmlformats.org/package/2006/relationships"><Relationship Id="rId1" Type="http://schemas.openxmlformats.org/officeDocument/2006/relationships/tags" Target="../tags/tag549.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75.xml"/><Relationship Id="rId7" Type="http://schemas.openxmlformats.org/officeDocument/2006/relationships/chart" Target="../charts/chart1976.xml"/></Relationships>
</file>

<file path=ppt/slides/_rels/slide989.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77.xml"/><Relationship Id="rId7" Type="http://schemas.openxmlformats.org/officeDocument/2006/relationships/chart" Target="../charts/chart1978.xml"/></Relationships>
</file>

<file path=ppt/slides/_rels/slide993.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85.xml"/><Relationship Id="rId7" Type="http://schemas.openxmlformats.org/officeDocument/2006/relationships/chart" Target="../charts/chart1986.xml"/></Relationships>
</file>

<file path=ppt/slides/_rels/slide998.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95.xml"/><Relationship Id="rId7" Type="http://schemas.openxmlformats.org/officeDocument/2006/relationships/chart" Target="../charts/chart1996.xml"/></Relationships>
</file>

<file path=ppt/slides/_rels/slide999.xml.rels><?xml version='1.0' encoding='UTF-8' standalone='yes'?>
<Relationships xmlns="http://schemas.openxmlformats.org/package/2006/relationships"><Relationship Id="rId1" Type="http://schemas.openxmlformats.org/officeDocument/2006/relationships/tags" Target="../tags/tag560.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97.xml"/><Relationship Id="rId7" Type="http://schemas.openxmlformats.org/officeDocument/2006/relationships/chart" Target="../charts/chart1998.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anual Shave Women | Amazon 3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6703908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1P | 5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59254408"/>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Sc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5%</a:t>
                      </a:r>
                      <a:r>
                        <a:rPr sz="700">
                          <a:solidFill>
                            <a:srgbClr val="575555"/>
                          </a:solidFill>
                          <a:latin typeface="Nexa Book"/>
                        </a:rPr>
                        <a:t> | </a:t>
                      </a:r>
                      <a:r>
                        <a:rPr sz="700">
                          <a:solidFill>
                            <a:srgbClr val="00A097"/>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7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19012947"/>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Amazon 3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6520064"/>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Edgewell | CVS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6.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2%</a:t>
                      </a:r>
                      <a:r>
                        <a:rPr sz="700">
                          <a:solidFill>
                            <a:srgbClr val="575555"/>
                          </a:solidFill>
                          <a:latin typeface="Nexa Book"/>
                        </a:rPr>
                        <a:t> | </a:t>
                      </a:r>
                      <a:r>
                        <a:rPr sz="700">
                          <a:solidFill>
                            <a:srgbClr val="C00000"/>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4%</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49094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1P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939785"/>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Edgewell | Walmart Div1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0%</a:t>
                      </a:r>
                      <a:r>
                        <a:rPr sz="700">
                          <a:solidFill>
                            <a:srgbClr val="575555"/>
                          </a:solidFill>
                          <a:latin typeface="Nexa Book"/>
                        </a:rPr>
                        <a:t> | </a:t>
                      </a:r>
                      <a:r>
                        <a:rPr sz="700">
                          <a:solidFill>
                            <a:srgbClr val="C00000"/>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6.0%</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4%</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567214"/>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Edgewell | Walmart Nm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5%</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3%</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3%</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8632797"/>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Edgewell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2%</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3%</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4%</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53330650"/>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National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90878222"/>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Amazon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1%</a:t>
                      </a:r>
                      <a:r>
                        <a:rPr sz="700">
                          <a:solidFill>
                            <a:srgbClr val="575555"/>
                          </a:solidFill>
                          <a:latin typeface="Nexa Book"/>
                        </a:rPr>
                        <a:t> | </a:t>
                      </a:r>
                      <a:r>
                        <a:rPr sz="700">
                          <a:solidFill>
                            <a:srgbClr val="00A097"/>
                          </a:solidFill>
                          <a:latin typeface="Nexa Book"/>
                        </a:rP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60702104"/>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Amazon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5736059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CVS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00A097"/>
                          </a:solidFill>
                          <a:latin typeface="Nexa Book"/>
                        </a:rP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6%</a:t>
                      </a:r>
                      <a:r>
                        <a:rPr sz="700">
                          <a:solidFill>
                            <a:srgbClr val="575555"/>
                          </a:solidFill>
                          <a:latin typeface="Nexa Book"/>
                        </a:rPr>
                        <a:t> | </a:t>
                      </a:r>
                      <a:r>
                        <a:rPr sz="700">
                          <a:solidFill>
                            <a:srgbClr val="00A097"/>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42717939"/>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CVS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0%</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8%</a:t>
                      </a:r>
                      <a:r>
                        <a:rPr sz="700">
                          <a:solidFill>
                            <a:srgbClr val="575555"/>
                          </a:solidFill>
                          <a:latin typeface="Nexa Book"/>
                        </a:rPr>
                        <a:t> | </a:t>
                      </a:r>
                      <a:r>
                        <a:rPr sz="700">
                          <a:solidFill>
                            <a:srgbClr val="C00000"/>
                          </a:solidFill>
                          <a:latin typeface="Nexa Book"/>
                        </a:rP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2854248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CVS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1%</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4%</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29776494"/>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CVS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16206922"/>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Walmart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43574385"/>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Amazon 1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6%</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3%</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67968319"/>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CVS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0%</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8%</a:t>
                      </a:r>
                      <a:r>
                        <a:rPr sz="700">
                          <a:solidFill>
                            <a:srgbClr val="575555"/>
                          </a:solidFill>
                          <a:latin typeface="Nexa Book"/>
                        </a:rPr>
                        <a:t> | </a:t>
                      </a:r>
                      <a:r>
                        <a:rPr sz="700">
                          <a:solidFill>
                            <a:srgbClr val="C00000"/>
                          </a:solidFill>
                          <a:latin typeface="Nexa Book"/>
                        </a:rP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0374178"/>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Walmart Div1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5%</a:t>
                      </a:r>
                      <a:r>
                        <a:rPr sz="700">
                          <a:solidFill>
                            <a:srgbClr val="575555"/>
                          </a:solidFill>
                          <a:latin typeface="Nexa Book"/>
                        </a:rPr>
                        <a:t> | </a:t>
                      </a:r>
                      <a:r>
                        <a:rPr sz="700">
                          <a:solidFill>
                            <a:srgbClr val="C00000"/>
                          </a:solidFill>
                          <a:latin typeface="Nexa Book"/>
                        </a:rP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9%</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01396804"/>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Walmart Div1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6%</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29151945"/>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Walmart Sc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7848852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168354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Walmart Sc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0%</a:t>
                      </a:r>
                      <a:r>
                        <a:rPr sz="700">
                          <a:solidFill>
                            <a:srgbClr val="575555"/>
                          </a:solidFill>
                          <a:latin typeface="Nexa Book"/>
                        </a:rPr>
                        <a:t> | </a:t>
                      </a:r>
                      <a:r>
                        <a:rPr sz="700">
                          <a:solidFill>
                            <a:srgbClr val="C00000"/>
                          </a:solidFill>
                          <a:latin typeface="Nexa Book"/>
                        </a:rP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8%</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69317263"/>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Amazon 3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6%</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00233080"/>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Category Value Sales &amp; Avg Price Per Kg | Manual Shave Women | Amazon 3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Category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Category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81127460"/>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Syste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9.2%</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9%</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2%</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3383159"/>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1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5%</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C00000"/>
                          </a:solidFill>
                          <a:latin typeface="Nexa Book"/>
                        </a:rPr>
                        <a:t>-2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66094133"/>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2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02106896"/>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3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9497232"/>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4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7.9%</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7%</a:t>
                      </a:r>
                      <a:r>
                        <a:rPr sz="700">
                          <a:solidFill>
                            <a:srgbClr val="575555"/>
                          </a:solidFill>
                          <a:latin typeface="Nexa Book"/>
                        </a:rPr>
                        <a:t> | </a:t>
                      </a:r>
                      <a:r>
                        <a:rPr sz="700">
                          <a:solidFill>
                            <a:srgbClr val="C00000"/>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850232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168339"/>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Normal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6%</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7%</a:t>
                      </a:r>
                      <a:r>
                        <a:rPr sz="700">
                          <a:solidFill>
                            <a:srgbClr val="575555"/>
                          </a:solidFill>
                          <a:latin typeface="Nexa Book"/>
                        </a:rPr>
                        <a:t> | </a:t>
                      </a:r>
                      <a:r>
                        <a:rPr sz="700">
                          <a:solidFill>
                            <a:srgbClr val="00A097"/>
                          </a:solidFill>
                          <a:latin typeface="Nexa Book"/>
                        </a:rP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9584591"/>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0.7%</a:t>
                      </a:r>
                      <a:r>
                        <a:rPr sz="700">
                          <a:solidFill>
                            <a:srgbClr val="575555"/>
                          </a:solidFill>
                          <a:latin typeface="Nexa Book"/>
                        </a:rPr>
                        <a:t> | </a:t>
                      </a:r>
                      <a:r>
                        <a:rPr sz="700">
                          <a:solidFill>
                            <a:srgbClr val="C00000"/>
                          </a:solidFill>
                          <a:latin typeface="Nexa Book"/>
                        </a:rP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4.7%</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4%</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40908806"/>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Dermaplan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610204172"/>
                    </a:ext>
                  </a:extLst>
                </a:gridCol>
                <a:gridCol w="3378708">
                  <a:extLst>
                    <a:ext uri="{9D8B030D-6E8A-4147-A177-3AD203B41FA5}">
                      <a16:colId xmlns:a16="http://schemas.microsoft.com/office/drawing/2014/main" val="4106856681"/>
                    </a:ext>
                  </a:extLst>
                </a:gridCol>
                <a:gridCol w="3378708">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00A097"/>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93140550"/>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C00000"/>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7%</a:t>
                      </a:r>
                      <a:r>
                        <a:rPr sz="700">
                          <a:solidFill>
                            <a:srgbClr val="575555"/>
                          </a:solidFill>
                          <a:latin typeface="Nexa Book"/>
                        </a:rPr>
                        <a:t> | </a:t>
                      </a:r>
                      <a:r>
                        <a:rPr sz="700">
                          <a:solidFill>
                            <a:srgbClr val="00A097"/>
                          </a:solidFill>
                          <a:latin typeface="Nexa Book"/>
                        </a:rP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09698317"/>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Refill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7%</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3%</a:t>
                      </a:r>
                      <a:r>
                        <a:rPr sz="700">
                          <a:solidFill>
                            <a:srgbClr val="575555"/>
                          </a:solidFill>
                          <a:latin typeface="Nexa Book"/>
                        </a:rPr>
                        <a:t> | </a:t>
                      </a:r>
                      <a:r>
                        <a:rPr sz="700">
                          <a:solidFill>
                            <a:srgbClr val="00A097"/>
                          </a:solidFill>
                          <a:latin typeface="Nexa Book"/>
                        </a:rPr>
                        <a:t>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1981111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68047241"/>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6%</a:t>
                      </a:r>
                      <a:r>
                        <a:rPr sz="700">
                          <a:solidFill>
                            <a:srgbClr val="575555"/>
                          </a:solidFill>
                          <a:latin typeface="Nexa Book"/>
                        </a:rPr>
                        <a:t> | </a:t>
                      </a:r>
                      <a:r>
                        <a:rPr sz="700">
                          <a:solidFill>
                            <a:srgbClr val="00A097"/>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94744851"/>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2%</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0%</a:t>
                      </a:r>
                      <a:r>
                        <a:rPr sz="700">
                          <a:solidFill>
                            <a:srgbClr val="575555"/>
                          </a:solidFill>
                          <a:latin typeface="Nexa Book"/>
                        </a:rPr>
                        <a:t> | </a:t>
                      </a:r>
                      <a:r>
                        <a:rPr sz="700">
                          <a:solidFill>
                            <a:srgbClr val="00A097"/>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18149360"/>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Refill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2%</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46565378"/>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Rem Blad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630210"/>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Normal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13947363"/>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Disposabl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12860970"/>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Refill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5.8%</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5%</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0%</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5004026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3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80587828"/>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2%</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4%</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322847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44554831"/>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Sensitive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9%</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4%</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5260301"/>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Syste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4389386"/>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38613919"/>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2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74658230"/>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3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0343401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77108482"/>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Normal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73949370"/>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Dermaplan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2%</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5%</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5%</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6%</a:t>
                      </a:r>
                      <a:r>
                        <a:rPr sz="700">
                          <a:solidFill>
                            <a:srgbClr val="575555"/>
                          </a:solidFill>
                          <a:latin typeface="Nexa Book"/>
                        </a:rPr>
                        <a:t> | </a:t>
                      </a:r>
                      <a:r>
                        <a:rPr sz="700">
                          <a:solidFill>
                            <a:srgbClr val="00A097"/>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51635344"/>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Disposabl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6%</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87777033"/>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Hybri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C00000"/>
                          </a:solidFill>
                          <a:latin typeface="Nexa Book"/>
                        </a:rP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00A097"/>
                          </a:solidFill>
                          <a:latin typeface="Nexa Book"/>
                        </a:rP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9.0%</a:t>
                      </a:r>
                      <a:r>
                        <a:rPr sz="700">
                          <a:solidFill>
                            <a:srgbClr val="575555"/>
                          </a:solidFill>
                          <a:latin typeface="Nexa Book"/>
                        </a:rPr>
                        <a:t> | </a:t>
                      </a:r>
                      <a:r>
                        <a:rPr sz="700">
                          <a:solidFill>
                            <a:srgbClr val="C00000"/>
                          </a:solidFill>
                          <a:latin typeface="Nexa Book"/>
                        </a:rP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95185245"/>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2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00A097"/>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5133993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3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35408791"/>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0.1%</a:t>
                      </a:r>
                      <a:r>
                        <a:rPr sz="700">
                          <a:solidFill>
                            <a:srgbClr val="575555"/>
                          </a:solidFill>
                          <a:latin typeface="Nexa Book"/>
                        </a:rPr>
                        <a:t> | </a:t>
                      </a:r>
                      <a:r>
                        <a:rPr sz="700">
                          <a:solidFill>
                            <a:srgbClr val="C00000"/>
                          </a:solidFill>
                          <a:latin typeface="Nexa Book"/>
                        </a:rP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5%</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3%</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4%</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4%</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4.3%</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99087908"/>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dgewell | Sensitive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6.5%</a:t>
                      </a:r>
                      <a:r>
                        <a:rPr sz="700">
                          <a:solidFill>
                            <a:srgbClr val="575555"/>
                          </a:solidFill>
                          <a:latin typeface="Nexa Book"/>
                        </a:rPr>
                        <a:t> | </a:t>
                      </a:r>
                      <a:r>
                        <a:rPr sz="700">
                          <a:solidFill>
                            <a:srgbClr val="C00000"/>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2%</a:t>
                      </a:r>
                      <a:r>
                        <a:rPr sz="700">
                          <a:solidFill>
                            <a:srgbClr val="575555"/>
                          </a:solidFill>
                          <a:latin typeface="Nexa Book"/>
                        </a:rPr>
                        <a:t> | </a:t>
                      </a:r>
                      <a:r>
                        <a:rPr sz="700">
                          <a:solidFill>
                            <a:srgbClr val="C00000"/>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2.9%</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6.0%</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4%</a:t>
                      </a:r>
                      <a:r>
                        <a:rPr sz="700">
                          <a:solidFill>
                            <a:srgbClr val="575555"/>
                          </a:solidFill>
                          <a:latin typeface="Nexa Book"/>
                        </a:rPr>
                        <a:t> | </a:t>
                      </a:r>
                      <a:r>
                        <a:rPr sz="700">
                          <a:solidFill>
                            <a:srgbClr val="00A097"/>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3%</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40613904"/>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Syste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5.4%</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1%</a:t>
                      </a:r>
                      <a:r>
                        <a:rPr sz="700">
                          <a:solidFill>
                            <a:srgbClr val="575555"/>
                          </a:solidFill>
                          <a:latin typeface="Nexa Book"/>
                        </a:rPr>
                        <a:t> | </a:t>
                      </a:r>
                      <a:r>
                        <a:rPr sz="700">
                          <a:solidFill>
                            <a:srgbClr val="00A097"/>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7%</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79604853"/>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2%</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00A097"/>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7%</a:t>
                      </a:r>
                      <a:r>
                        <a:rPr sz="700">
                          <a:solidFill>
                            <a:srgbClr val="575555"/>
                          </a:solidFill>
                          <a:latin typeface="Nexa Book"/>
                        </a:rPr>
                        <a:t> | </a:t>
                      </a:r>
                      <a:r>
                        <a:rPr sz="700">
                          <a:solidFill>
                            <a:srgbClr val="00A097"/>
                          </a:solidFill>
                          <a:latin typeface="Nexa Book"/>
                        </a:rP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1%</a:t>
                      </a:r>
                      <a:r>
                        <a:rPr sz="700">
                          <a:solidFill>
                            <a:srgbClr val="575555"/>
                          </a:solidFill>
                          <a:latin typeface="Nexa Book"/>
                        </a:rPr>
                        <a:t> | </a:t>
                      </a:r>
                      <a:r>
                        <a:rPr sz="700">
                          <a:solidFill>
                            <a:srgbClr val="C00000"/>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6%</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55693786"/>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Billie | Sensitive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080046"/>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Syste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C00000"/>
                          </a:solidFill>
                          <a:latin typeface="Nexa Book"/>
                        </a:rP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C00000"/>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9%</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6648208"/>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7%</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0%</a:t>
                      </a:r>
                      <a:r>
                        <a:rPr sz="700">
                          <a:solidFill>
                            <a:srgbClr val="575555"/>
                          </a:solidFill>
                          <a:latin typeface="Nexa Book"/>
                        </a:rPr>
                        <a:t> | </a:t>
                      </a:r>
                      <a:r>
                        <a:rPr sz="700">
                          <a:solidFill>
                            <a:srgbClr val="00A097"/>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2%</a:t>
                      </a:r>
                      <a:r>
                        <a:rPr sz="700">
                          <a:solidFill>
                            <a:srgbClr val="575555"/>
                          </a:solidFill>
                          <a:latin typeface="Nexa Book"/>
                        </a:rPr>
                        <a:t> | </a:t>
                      </a:r>
                      <a:r>
                        <a:rPr sz="700">
                          <a:solidFill>
                            <a:srgbClr val="C00000"/>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6%</a:t>
                      </a:r>
                      <a:r>
                        <a:rPr sz="700">
                          <a:solidFill>
                            <a:srgbClr val="575555"/>
                          </a:solidFill>
                          <a:latin typeface="Nexa Book"/>
                        </a:rPr>
                        <a:t> | </a:t>
                      </a:r>
                      <a:r>
                        <a:rPr sz="700">
                          <a:solidFill>
                            <a:srgbClr val="C00000"/>
                          </a:solidFill>
                          <a:latin typeface="Nexa Book"/>
                        </a:rP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21819648"/>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1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2%</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6%</a:t>
                      </a:r>
                      <a:r>
                        <a:rPr sz="700">
                          <a:solidFill>
                            <a:srgbClr val="575555"/>
                          </a:solidFill>
                          <a:latin typeface="Nexa Book"/>
                        </a:rPr>
                        <a:t> | </a:t>
                      </a:r>
                      <a:r>
                        <a:rPr sz="700">
                          <a:solidFill>
                            <a:srgbClr val="C00000"/>
                          </a:solidFill>
                          <a:latin typeface="Nexa Book"/>
                        </a:rP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5%</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6%</a:t>
                      </a:r>
                      <a:r>
                        <a:rPr sz="700">
                          <a:solidFill>
                            <a:srgbClr val="575555"/>
                          </a:solidFill>
                          <a:latin typeface="Nexa Book"/>
                        </a:rPr>
                        <a:t> | </a:t>
                      </a:r>
                      <a:r>
                        <a:rPr sz="700">
                          <a:solidFill>
                            <a:srgbClr val="00A097"/>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49804660"/>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Normal Ski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1607571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Hydro Silk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5.8%</a:t>
                      </a:r>
                      <a:r>
                        <a:rPr sz="700">
                          <a:solidFill>
                            <a:srgbClr val="575555"/>
                          </a:solidFill>
                          <a:latin typeface="Nexa Book"/>
                        </a:rPr>
                        <a:t> | </a:t>
                      </a:r>
                      <a:r>
                        <a:rPr sz="700">
                          <a:solidFill>
                            <a:srgbClr val="C00000"/>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0%</a:t>
                      </a:r>
                      <a:r>
                        <a:rPr sz="700">
                          <a:solidFill>
                            <a:srgbClr val="575555"/>
                          </a:solidFill>
                          <a:latin typeface="Nexa Book"/>
                        </a:rPr>
                        <a:t> | </a:t>
                      </a:r>
                      <a:r>
                        <a:rPr sz="700">
                          <a:solidFill>
                            <a:srgbClr val="00A097"/>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8%</a:t>
                      </a:r>
                      <a:r>
                        <a:rPr sz="700">
                          <a:solidFill>
                            <a:srgbClr val="575555"/>
                          </a:solidFill>
                          <a:latin typeface="Nexa Book"/>
                        </a:rPr>
                        <a:t> | </a:t>
                      </a:r>
                      <a:r>
                        <a:rPr sz="700">
                          <a:solidFill>
                            <a:srgbClr val="C00000"/>
                          </a:solidFill>
                          <a:latin typeface="Nexa Book"/>
                        </a:rPr>
                        <a:t>-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9%</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6%</a:t>
                      </a:r>
                      <a:r>
                        <a:rPr sz="700">
                          <a:solidFill>
                            <a:srgbClr val="575555"/>
                          </a:solidFill>
                          <a:latin typeface="Nexa Book"/>
                        </a:rPr>
                        <a:t> | </a:t>
                      </a:r>
                      <a:r>
                        <a:rPr sz="700">
                          <a:solidFill>
                            <a:srgbClr val="00A097"/>
                          </a:solidFill>
                          <a:latin typeface="Nexa Book"/>
                        </a:rP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28758340"/>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Disposabl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4%</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07993062"/>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System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3.9%</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5%</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0%</a:t>
                      </a:r>
                      <a:r>
                        <a:rPr sz="700">
                          <a:solidFill>
                            <a:srgbClr val="575555"/>
                          </a:solidFill>
                          <a:latin typeface="Nexa Book"/>
                        </a:rPr>
                        <a:t> | </a:t>
                      </a:r>
                      <a:r>
                        <a:rPr sz="700">
                          <a:solidFill>
                            <a:srgbClr val="C00000"/>
                          </a:solidFill>
                          <a:latin typeface="Nexa Book"/>
                        </a:rP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6%</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7%</a:t>
                      </a:r>
                      <a:r>
                        <a:rPr sz="700">
                          <a:solidFill>
                            <a:srgbClr val="575555"/>
                          </a:solidFill>
                          <a:latin typeface="Nexa Book"/>
                        </a:rPr>
                        <a:t> | </a:t>
                      </a:r>
                      <a:r>
                        <a:rPr sz="700">
                          <a:solidFill>
                            <a:srgbClr val="C00000"/>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12599273"/>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Hybrid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7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C00000"/>
                          </a:solidFill>
                          <a:latin typeface="Nexa Book"/>
                        </a:rP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00A097"/>
                          </a:solidFill>
                          <a:latin typeface="Nexa Book"/>
                        </a:rP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9.0%</a:t>
                      </a:r>
                      <a:r>
                        <a:rPr sz="700">
                          <a:solidFill>
                            <a:srgbClr val="575555"/>
                          </a:solidFill>
                          <a:latin typeface="Nexa Book"/>
                        </a:rPr>
                        <a:t> | </a:t>
                      </a:r>
                      <a:r>
                        <a:rPr sz="700">
                          <a:solidFill>
                            <a:srgbClr val="C00000"/>
                          </a:solidFill>
                          <a:latin typeface="Nexa Book"/>
                        </a:rPr>
                        <a:t>-2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61946090"/>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Razor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6%</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6%</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6%</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7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99502362"/>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Refill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5.5%</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0%</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5%</a:t>
                      </a:r>
                      <a:r>
                        <a:rPr sz="700">
                          <a:solidFill>
                            <a:srgbClr val="575555"/>
                          </a:solidFill>
                          <a:latin typeface="Nexa Book"/>
                        </a:rPr>
                        <a:t> | </a:t>
                      </a:r>
                      <a:r>
                        <a:rPr sz="700">
                          <a:solidFill>
                            <a:srgbClr val="C00000"/>
                          </a:solidFill>
                          <a:latin typeface="Nexa Book"/>
                        </a:rP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9%</a:t>
                      </a:r>
                      <a:r>
                        <a:rPr sz="700">
                          <a:solidFill>
                            <a:srgbClr val="575555"/>
                          </a:solidFill>
                          <a:latin typeface="Nexa Book"/>
                        </a:rPr>
                        <a:t> | </a:t>
                      </a:r>
                      <a:r>
                        <a:rPr sz="700">
                          <a:solidFill>
                            <a:srgbClr val="C00000"/>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4%</a:t>
                      </a:r>
                      <a:r>
                        <a:rPr sz="700">
                          <a:solidFill>
                            <a:srgbClr val="575555"/>
                          </a:solidFill>
                          <a:latin typeface="Nexa Book"/>
                        </a:rPr>
                        <a:t> | </a:t>
                      </a:r>
                      <a:r>
                        <a:rPr sz="700">
                          <a:solidFill>
                            <a:srgbClr val="C00000"/>
                          </a:solidFill>
                          <a:latin typeface="Nexa Book"/>
                        </a:rPr>
                        <a:t>-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8372704"/>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5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0%</a:t>
                      </a:r>
                      <a:r>
                        <a:rPr sz="700">
                          <a:solidFill>
                            <a:srgbClr val="575555"/>
                          </a:solidFill>
                          <a:latin typeface="Nexa Book"/>
                        </a:rPr>
                        <a:t> | </a:t>
                      </a:r>
                      <a:r>
                        <a:rPr sz="700">
                          <a:solidFill>
                            <a:srgbClr val="C00000"/>
                          </a:solidFill>
                          <a:latin typeface="Nexa Book"/>
                        </a:rP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50717820"/>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tuition | Rem Type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3%</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0.5%</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5%</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C00000"/>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9685869"/>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Disposabl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6%</a:t>
                      </a:r>
                      <a:r>
                        <a:rPr sz="700">
                          <a:solidFill>
                            <a:srgbClr val="575555"/>
                          </a:solidFill>
                          <a:latin typeface="Nexa Book"/>
                        </a:rPr>
                        <a:t> | </a:t>
                      </a:r>
                      <a:r>
                        <a:rPr sz="700">
                          <a:solidFill>
                            <a:srgbClr val="C00000"/>
                          </a:solidFill>
                          <a:latin typeface="Nexa Book"/>
                        </a:rP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1%</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795221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30508424"/>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2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76664818"/>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kintimate | 3 Blad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Channel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Channel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410949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6258337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7364344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5026939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11129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4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898510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5957310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143244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791259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2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3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94466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529689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8783045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468470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1127796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641901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1P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4194200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37398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097919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9517520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510713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5371766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5264044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569300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2259224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5172897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992698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anual Shave Women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7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8205578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anual Shave Women | Amazon 1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7956552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anual Shave Women | CV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5140771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anual Shave Women | Walmart Sc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682707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Manual Shave Women | Amazon 3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7488440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0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6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3766924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4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1345918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2407318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81093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5880749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509140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anual Shave Women | Amazo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899583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6262968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2585792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2783455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8026056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Sc Corp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5007077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026847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5640488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0363374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0697743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6.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8498673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2515784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7809886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3941628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0054941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063487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7220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8959178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3151754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230771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889996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5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4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833519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61110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3110767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9157199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8010106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407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5954054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8098366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9537791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878015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855177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Dermaplan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7510879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6176009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0755600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1540151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88055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2245952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9858159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Div1 Cor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3560908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Div1 Corp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8181416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6626338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9265796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6741708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Sc Cor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70642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anual Shave Women | CVS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4699056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Sc Corp | 5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9286558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Sc Corp | 6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9645501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6793285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2589717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5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41028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Disposabl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6897110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National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2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34.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2071990"/>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1370786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Corp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9050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78822498"/>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3566363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5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2447711"/>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2076819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1P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4727779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19071296"/>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CVS | Sensitive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228553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Div1 Corp | Normal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3616456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Div1 Cor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271926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Nm Cor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09970213"/>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Walmart Sc Corp | Rem Typ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9207575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mazon 3P | Dry Ski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500049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System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79391607"/>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Manual Shave Women | Amazon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8687529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Manual Shave Women | CVS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09931219"/>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Manual Shave Women | Walmart Nm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1402384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Manual Shave Women | Walmart Sc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6282152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Manual Shave Women | CVS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56126440"/>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Manual Shave Women | CV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5306162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Manual Shave Women | Walmart Sc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4870594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Manual Shave Women | Amazon 3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2150973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Segment | Manual Shave Women | Walmart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2329045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Segment | Manual Shave Women | Amazon 1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489333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Segment | Manual Shave Women | CV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766145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7980428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Segment | Manual Shave Women | Amazon 3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8557401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Category | Manual Shave Women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1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7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57101614"/>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Category | Manual Shave Women | Amazon 1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0.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6093089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Category | Manual Shave Women | Walmart Div1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1046618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ubCategory | Manual Shave Women | Walmart Nm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7.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83507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2.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2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9.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8.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318831"/>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anual Shave Women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4928986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anual Shave Women | Amazo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01011559"/>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anual Shave Women | CV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4434267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anual Shave Women | Walmart Div1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5784139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Manual Shave Women | Walmart Nm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52637196"/>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1160638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9166104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8837310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8896521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21913303"/>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290629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9106688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Nm Corp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8285923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3898758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3P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1075790"/>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2988230"/>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651479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Razor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09852766"/>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5787583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0117447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Razor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203513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264382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26960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Razor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7681776"/>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7072392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7547748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15035244"/>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6203595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0268612"/>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2996812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59145471"/>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9720636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64157564"/>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88405384"/>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39176542"/>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5327203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86741456"/>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46415971"/>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76282912"/>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23355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6.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87150766"/>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1046851"/>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2446186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507930"/>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554668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8552925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Nm Cor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3290928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Nm Corp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1191922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014988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797518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3P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923093"/>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3P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41495857"/>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3P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4580276"/>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National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988146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92075480"/>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484039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742700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554586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07459527"/>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381041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Corp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6075316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845504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6445185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23896397"/>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1P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8043724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CVS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44010396"/>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0488307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Div1 Corp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63109418"/>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85558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Div1 Corp | Hybrid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87941807"/>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Walmart Sc Cor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15199429"/>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mazon 3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575091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anual Shave Women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0060436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anual Shave Women | Amazon 1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76494022"/>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anual Shave Women | Walmart Sc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56989105"/>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Manual Shave Women | Amazon 3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30234243"/>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7534667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8.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14771427"/>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67854940"/>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45067704"/>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4498506"/>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893324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3407858"/>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81934645"/>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52887766"/>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Dermaplan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953052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11306022"/>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Disposabl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03899112"/>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System</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1654935"/>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934409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Nm Corp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09966331"/>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079020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Razor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86189970"/>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 Razor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21671995"/>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4092544"/>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73399003"/>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32313664"/>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Refill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6195002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76543268"/>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Hybrid</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31399407"/>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85474455"/>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3657214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083865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Sc Corp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40942875"/>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1814618"/>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24536936"/>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60500067"/>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3775536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09220897"/>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70548044"/>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212970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Razor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51521096"/>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31089805"/>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48933278"/>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851113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3P | Refill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83572552"/>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3713573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9781680"/>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98464447"/>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5544113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3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844561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5945358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61220433"/>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1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89301756"/>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5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06087272"/>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2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5204109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6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52918928"/>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Rem Blad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43821267"/>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4 Blad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06642235"/>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264369"/>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2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4.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05249901"/>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National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6.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31312011"/>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25229845"/>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Corp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14109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National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58.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54449920"/>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5206083"/>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2062769"/>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900309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1P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22043825"/>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CVS | Sensitive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17846000"/>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7928442"/>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Div1 Cor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67002929"/>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214901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Nm Cor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61164332"/>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Walmart Sc Corp | Rem Type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39261444"/>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Dry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10831248"/>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mazon 3P | Normal Ski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024113"/>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Manual Shave Women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1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7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0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86719401"/>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Manual Shave Women | Amazo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22352"/>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Manual Shave Women | Walmart Nm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135224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5522054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Manual Shave Women | Amazon</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92524039"/>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Manual Shave Women | CVS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15054200"/>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Manual Shave Women | Walmart Sc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3.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16195992"/>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Manual Shave Women | Amazon 3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71010458"/>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Segment | Manual Shave Women | CVS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59139338"/>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Segment | Manual Shave Women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81479159"/>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Segment | Manual Shave Women | CVS</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630170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Segment | Manual Shave Women | Walmart Div1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8763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3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65629592"/>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Segment | Manual Shave Women | Amazon 3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91831930"/>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Category | Manual Shave Women | Walmart</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2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5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54.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17271112"/>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Category | Manual Shave Women | Amazon 1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4.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78810876"/>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ubCategory | Manual Shave Women | Walmart Div1 Corp</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1.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16616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 4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74148924"/>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ctor | Manual Shave Women | National | P12M | Index vs YA Value Sales | DYA: +1%</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68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5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7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B2DFDC"/>
                          </a:solidFill>
                          <a:latin typeface="Nexa Book"/>
                        </a:defRPr>
                      </a:pPr>
                      <a:r>
                        <a:t>1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050523538"/>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ctor | Manual Shave Women | Amazon | P12M | Index vs YA Value Sales | DYA: +15%</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3822192">
                  <a:extLst>
                    <a:ext uri="{9D8B030D-6E8A-4147-A177-3AD203B41FA5}">
                      <a16:colId xmlns:a16="http://schemas.microsoft.com/office/drawing/2014/main" val="996812328"/>
                    </a:ext>
                  </a:extLst>
                </a:gridCol>
                <a:gridCol w="3822192">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9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89823092"/>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ctor | Manual Shave Women | Walmart Nm Corp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1906774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ctor | Manual Shave Women | Walmart Sc Corp | P12M | Index vs YA Value Sales | DYA: +1%</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5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6.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B2DFDC"/>
                          </a:solidFill>
                          <a:latin typeface="Nexa Book"/>
                        </a:defRPr>
                      </a:pPr>
                      <a:r>
                        <a:t>1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028793166"/>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gment | Manual Shave Women | Amazon | P12M | Index vs YA Value Sales | DYA: +15%</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911096">
                  <a:extLst>
                    <a:ext uri="{9D8B030D-6E8A-4147-A177-3AD203B41FA5}">
                      <a16:colId xmlns:a16="http://schemas.microsoft.com/office/drawing/2014/main" val="996812328"/>
                    </a:ext>
                  </a:extLst>
                </a:gridCol>
                <a:gridCol w="1911096">
                  <a:extLst>
                    <a:ext uri="{9D8B030D-6E8A-4147-A177-3AD203B41FA5}">
                      <a16:colId xmlns:a16="http://schemas.microsoft.com/office/drawing/2014/main" val="1946111412"/>
                    </a:ext>
                  </a:extLst>
                </a:gridCol>
                <a:gridCol w="1911096">
                  <a:extLst>
                    <a:ext uri="{9D8B030D-6E8A-4147-A177-3AD203B41FA5}">
                      <a16:colId xmlns:a16="http://schemas.microsoft.com/office/drawing/2014/main" val="112675917"/>
                    </a:ext>
                  </a:extLst>
                </a:gridCol>
                <a:gridCol w="191109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5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5.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00A097"/>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6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608949216"/>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gment | Manual Shave Women | Walmart Div1 Corp | P12M | Index vs YA Value Sales | DYA: -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4"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528876">
                  <a:extLst>
                    <a:ext uri="{9D8B030D-6E8A-4147-A177-3AD203B41FA5}">
                      <a16:colId xmlns:a16="http://schemas.microsoft.com/office/drawing/2014/main" val="996812328"/>
                    </a:ext>
                  </a:extLst>
                </a:gridCol>
                <a:gridCol w="1528876">
                  <a:extLst>
                    <a:ext uri="{9D8B030D-6E8A-4147-A177-3AD203B41FA5}">
                      <a16:colId xmlns:a16="http://schemas.microsoft.com/office/drawing/2014/main" val="1946111412"/>
                    </a:ext>
                  </a:extLst>
                </a:gridCol>
                <a:gridCol w="1528876">
                  <a:extLst>
                    <a:ext uri="{9D8B030D-6E8A-4147-A177-3AD203B41FA5}">
                      <a16:colId xmlns:a16="http://schemas.microsoft.com/office/drawing/2014/main" val="112675917"/>
                    </a:ext>
                  </a:extLst>
                </a:gridCol>
                <a:gridCol w="1528876">
                  <a:extLst>
                    <a:ext uri="{9D8B030D-6E8A-4147-A177-3AD203B41FA5}">
                      <a16:colId xmlns:a16="http://schemas.microsoft.com/office/drawing/2014/main" val="2500398484"/>
                    </a:ext>
                  </a:extLst>
                </a:gridCol>
                <a:gridCol w="152887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2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970043350"/>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egment | Manual Shave Women | Walmart Nm Corp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4"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528876">
                  <a:extLst>
                    <a:ext uri="{9D8B030D-6E8A-4147-A177-3AD203B41FA5}">
                      <a16:colId xmlns:a16="http://schemas.microsoft.com/office/drawing/2014/main" val="996812328"/>
                    </a:ext>
                  </a:extLst>
                </a:gridCol>
                <a:gridCol w="1528876">
                  <a:extLst>
                    <a:ext uri="{9D8B030D-6E8A-4147-A177-3AD203B41FA5}">
                      <a16:colId xmlns:a16="http://schemas.microsoft.com/office/drawing/2014/main" val="1946111412"/>
                    </a:ext>
                  </a:extLst>
                </a:gridCol>
                <a:gridCol w="1528876">
                  <a:extLst>
                    <a:ext uri="{9D8B030D-6E8A-4147-A177-3AD203B41FA5}">
                      <a16:colId xmlns:a16="http://schemas.microsoft.com/office/drawing/2014/main" val="112675917"/>
                    </a:ext>
                  </a:extLst>
                </a:gridCol>
                <a:gridCol w="1528876">
                  <a:extLst>
                    <a:ext uri="{9D8B030D-6E8A-4147-A177-3AD203B41FA5}">
                      <a16:colId xmlns:a16="http://schemas.microsoft.com/office/drawing/2014/main" val="2500398484"/>
                    </a:ext>
                  </a:extLst>
                </a:gridCol>
                <a:gridCol w="152887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423600362"/>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Segment | Manual Shave Women | Amazon | P12M | Index vs YA Value Sales | DYA: +15%</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2"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092054">
                  <a:extLst>
                    <a:ext uri="{9D8B030D-6E8A-4147-A177-3AD203B41FA5}">
                      <a16:colId xmlns:a16="http://schemas.microsoft.com/office/drawing/2014/main" val="996812328"/>
                    </a:ext>
                  </a:extLst>
                </a:gridCol>
                <a:gridCol w="1092054">
                  <a:extLst>
                    <a:ext uri="{9D8B030D-6E8A-4147-A177-3AD203B41FA5}">
                      <a16:colId xmlns:a16="http://schemas.microsoft.com/office/drawing/2014/main" val="1946111412"/>
                    </a:ext>
                  </a:extLst>
                </a:gridCol>
                <a:gridCol w="1092054">
                  <a:extLst>
                    <a:ext uri="{9D8B030D-6E8A-4147-A177-3AD203B41FA5}">
                      <a16:colId xmlns:a16="http://schemas.microsoft.com/office/drawing/2014/main" val="112675917"/>
                    </a:ext>
                  </a:extLst>
                </a:gridCol>
                <a:gridCol w="1092054">
                  <a:extLst>
                    <a:ext uri="{9D8B030D-6E8A-4147-A177-3AD203B41FA5}">
                      <a16:colId xmlns:a16="http://schemas.microsoft.com/office/drawing/2014/main" val="2500398484"/>
                    </a:ext>
                  </a:extLst>
                </a:gridCol>
                <a:gridCol w="1092054">
                  <a:extLst>
                    <a:ext uri="{9D8B030D-6E8A-4147-A177-3AD203B41FA5}">
                      <a16:colId xmlns:a16="http://schemas.microsoft.com/office/drawing/2014/main" val="1784810295"/>
                    </a:ext>
                  </a:extLst>
                </a:gridCol>
                <a:gridCol w="1092054">
                  <a:extLst>
                    <a:ext uri="{9D8B030D-6E8A-4147-A177-3AD203B41FA5}">
                      <a16:colId xmlns:a16="http://schemas.microsoft.com/office/drawing/2014/main" val="390726217"/>
                    </a:ext>
                  </a:extLst>
                </a:gridCol>
                <a:gridCol w="109205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6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00A097"/>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4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203364688"/>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Segment | Manual Shave Women | Walmart Nm Corp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6.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70447845"/>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Segment | Manual Shave Women | Walmart Sc Corp | P12M | Index vs YA Value Sales | DYA: +1%</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2"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092054">
                  <a:extLst>
                    <a:ext uri="{9D8B030D-6E8A-4147-A177-3AD203B41FA5}">
                      <a16:colId xmlns:a16="http://schemas.microsoft.com/office/drawing/2014/main" val="996812328"/>
                    </a:ext>
                  </a:extLst>
                </a:gridCol>
                <a:gridCol w="1092054">
                  <a:extLst>
                    <a:ext uri="{9D8B030D-6E8A-4147-A177-3AD203B41FA5}">
                      <a16:colId xmlns:a16="http://schemas.microsoft.com/office/drawing/2014/main" val="1946111412"/>
                    </a:ext>
                  </a:extLst>
                </a:gridCol>
                <a:gridCol w="1092054">
                  <a:extLst>
                    <a:ext uri="{9D8B030D-6E8A-4147-A177-3AD203B41FA5}">
                      <a16:colId xmlns:a16="http://schemas.microsoft.com/office/drawing/2014/main" val="112675917"/>
                    </a:ext>
                  </a:extLst>
                </a:gridCol>
                <a:gridCol w="1092054">
                  <a:extLst>
                    <a:ext uri="{9D8B030D-6E8A-4147-A177-3AD203B41FA5}">
                      <a16:colId xmlns:a16="http://schemas.microsoft.com/office/drawing/2014/main" val="2500398484"/>
                    </a:ext>
                  </a:extLst>
                </a:gridCol>
                <a:gridCol w="1092054">
                  <a:extLst>
                    <a:ext uri="{9D8B030D-6E8A-4147-A177-3AD203B41FA5}">
                      <a16:colId xmlns:a16="http://schemas.microsoft.com/office/drawing/2014/main" val="1784810295"/>
                    </a:ext>
                  </a:extLst>
                </a:gridCol>
                <a:gridCol w="1092054">
                  <a:extLst>
                    <a:ext uri="{9D8B030D-6E8A-4147-A177-3AD203B41FA5}">
                      <a16:colId xmlns:a16="http://schemas.microsoft.com/office/drawing/2014/main" val="390726217"/>
                    </a:ext>
                  </a:extLst>
                </a:gridCol>
                <a:gridCol w="109205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3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7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B2DFDC"/>
                          </a:solidFill>
                          <a:latin typeface="Nexa Book"/>
                        </a:defRPr>
                      </a:pPr>
                      <a:r>
                        <a:t>1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2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6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35703547"/>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Category | Manual Shave Women | CVS Corp | P12M | Index vs YA Value Sales |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911096">
                  <a:extLst>
                    <a:ext uri="{9D8B030D-6E8A-4147-A177-3AD203B41FA5}">
                      <a16:colId xmlns:a16="http://schemas.microsoft.com/office/drawing/2014/main" val="996812328"/>
                    </a:ext>
                  </a:extLst>
                </a:gridCol>
                <a:gridCol w="1911096">
                  <a:extLst>
                    <a:ext uri="{9D8B030D-6E8A-4147-A177-3AD203B41FA5}">
                      <a16:colId xmlns:a16="http://schemas.microsoft.com/office/drawing/2014/main" val="1946111412"/>
                    </a:ext>
                  </a:extLst>
                </a:gridCol>
                <a:gridCol w="1911096">
                  <a:extLst>
                    <a:ext uri="{9D8B030D-6E8A-4147-A177-3AD203B41FA5}">
                      <a16:colId xmlns:a16="http://schemas.microsoft.com/office/drawing/2014/main" val="112675917"/>
                    </a:ext>
                  </a:extLst>
                </a:gridCol>
                <a:gridCol w="191109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5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985086579"/>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Category | Manual Shave Women | Walmart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911096">
                  <a:extLst>
                    <a:ext uri="{9D8B030D-6E8A-4147-A177-3AD203B41FA5}">
                      <a16:colId xmlns:a16="http://schemas.microsoft.com/office/drawing/2014/main" val="996812328"/>
                    </a:ext>
                  </a:extLst>
                </a:gridCol>
                <a:gridCol w="1911096">
                  <a:extLst>
                    <a:ext uri="{9D8B030D-6E8A-4147-A177-3AD203B41FA5}">
                      <a16:colId xmlns:a16="http://schemas.microsoft.com/office/drawing/2014/main" val="1946111412"/>
                    </a:ext>
                  </a:extLst>
                </a:gridCol>
                <a:gridCol w="1911096">
                  <a:extLst>
                    <a:ext uri="{9D8B030D-6E8A-4147-A177-3AD203B41FA5}">
                      <a16:colId xmlns:a16="http://schemas.microsoft.com/office/drawing/2014/main" val="112675917"/>
                    </a:ext>
                  </a:extLst>
                </a:gridCol>
                <a:gridCol w="191109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249.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8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21147527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Category | Manual Shave Women | Walmart Sc Corp | P12M | Index vs YA Value Sales | DYA: +1%</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911096">
                  <a:extLst>
                    <a:ext uri="{9D8B030D-6E8A-4147-A177-3AD203B41FA5}">
                      <a16:colId xmlns:a16="http://schemas.microsoft.com/office/drawing/2014/main" val="996812328"/>
                    </a:ext>
                  </a:extLst>
                </a:gridCol>
                <a:gridCol w="1911096">
                  <a:extLst>
                    <a:ext uri="{9D8B030D-6E8A-4147-A177-3AD203B41FA5}">
                      <a16:colId xmlns:a16="http://schemas.microsoft.com/office/drawing/2014/main" val="1946111412"/>
                    </a:ext>
                  </a:extLst>
                </a:gridCol>
                <a:gridCol w="1911096">
                  <a:extLst>
                    <a:ext uri="{9D8B030D-6E8A-4147-A177-3AD203B41FA5}">
                      <a16:colId xmlns:a16="http://schemas.microsoft.com/office/drawing/2014/main" val="112675917"/>
                    </a:ext>
                  </a:extLst>
                </a:gridCol>
                <a:gridCol w="191109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207.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3543329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3026282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SubCategory | Manual Shave Women | Amazon 3P | P12M | Index vs YA Value Sales | DYA: +16%</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911096">
                  <a:extLst>
                    <a:ext uri="{9D8B030D-6E8A-4147-A177-3AD203B41FA5}">
                      <a16:colId xmlns:a16="http://schemas.microsoft.com/office/drawing/2014/main" val="996812328"/>
                    </a:ext>
                  </a:extLst>
                </a:gridCol>
                <a:gridCol w="1911096">
                  <a:extLst>
                    <a:ext uri="{9D8B030D-6E8A-4147-A177-3AD203B41FA5}">
                      <a16:colId xmlns:a16="http://schemas.microsoft.com/office/drawing/2014/main" val="1946111412"/>
                    </a:ext>
                  </a:extLst>
                </a:gridCol>
                <a:gridCol w="1911096">
                  <a:extLst>
                    <a:ext uri="{9D8B030D-6E8A-4147-A177-3AD203B41FA5}">
                      <a16:colId xmlns:a16="http://schemas.microsoft.com/office/drawing/2014/main" val="112675917"/>
                    </a:ext>
                  </a:extLst>
                </a:gridCol>
                <a:gridCol w="1911096">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00A097"/>
                          </a:solidFill>
                          <a:latin typeface="Nexa Book"/>
                        </a:defRPr>
                      </a:pPr>
                      <a:r>
                        <a:t>1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91556479"/>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System | P12M | Index vs YA Value Sales |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8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9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895895935"/>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Razors | P12M | Index vs YA Value Sales | DYA: +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8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5.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6.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08217515"/>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Refills | P12M | Index vs YA Value Sales | DYA: +5%</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9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066079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2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55214542"/>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3 Blade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9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3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424312562"/>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4 Blade | P12M | Index vs YA Value Sales | DYA: -7%</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45.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73745312"/>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Dry Skin | P12M | Index vs YA Value Sales | DYA: -2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6.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C0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849722246"/>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Rem Types | P12M | Index vs YA Value Sales | DYA: +8%</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2548128">
                  <a:extLst>
                    <a:ext uri="{9D8B030D-6E8A-4147-A177-3AD203B41FA5}">
                      <a16:colId xmlns:a16="http://schemas.microsoft.com/office/drawing/2014/main" val="996812328"/>
                    </a:ext>
                  </a:extLst>
                </a:gridCol>
                <a:gridCol w="2548128">
                  <a:extLst>
                    <a:ext uri="{9D8B030D-6E8A-4147-A177-3AD203B41FA5}">
                      <a16:colId xmlns:a16="http://schemas.microsoft.com/office/drawing/2014/main" val="1946111412"/>
                    </a:ext>
                  </a:extLst>
                </a:gridCol>
                <a:gridCol w="2548128">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4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37015356"/>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Disposable | P12M | Index vs YA Value Sales | DYA: +1%</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36.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90070891"/>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System | P12M | Index vs YA Value Sales |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15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7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6.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B2DFDC"/>
                          </a:solidFill>
                          <a:latin typeface="Nexa Book"/>
                        </a:defRPr>
                      </a:pPr>
                      <a:r>
                        <a:t>10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484194313"/>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Hybrid | P12M | Index vs YA Value Sales | DYA: -3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C00000"/>
                          </a:solidFill>
                          <a:latin typeface="Nexa Book"/>
                        </a:defRPr>
                      </a:pPr>
                      <a:r>
                        <a:t>7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4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3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088629941"/>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3 Blade | P12M | Index vs YA Value Sales | DYA: 0%</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7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5887560"/>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4 Blade | P12M | Index vs YA Value Sales | DYA: -7%</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3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3.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FF8080"/>
                          </a:solidFill>
                          <a:latin typeface="Nexa Book"/>
                        </a:defRPr>
                      </a:pPr>
                      <a:r>
                        <a:t>9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115419248"/>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Dry Skin | P12M | Index vs YA Value Sales | DYA: -2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5.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C0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C0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08134058"/>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t>DATA SOURCE: Trade Panel/Retailer Data | Ending August 2024</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t>Market growth contributors | By Retailer | Sensitive Skin | P12M | Index vs YA Value Sales | DYA: +2%</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430768" cy="626209"/>
        </p:xfrm>
        <a:graphic>
          <a:graphicData uri="http://schemas.openxmlformats.org/drawingml/2006/table">
            <a:tbl>
              <a:tblPr firstRow="1" bandRow="1">
                <a:tableStyleId>{5C22544A-7EE6-4342-B048-85BDC9FD1C3A}</a:tableStyleId>
              </a:tblPr>
              <a:tblGrid>
                <a:gridCol w="786384">
                  <a:extLst>
                    <a:ext uri="{9D8B030D-6E8A-4147-A177-3AD203B41FA5}">
                      <a16:colId xmlns:a16="http://schemas.microsoft.com/office/drawing/2014/main" val="3074704254"/>
                    </a:ext>
                  </a:extLst>
                </a:gridCol>
                <a:gridCol w="1274064">
                  <a:extLst>
                    <a:ext uri="{9D8B030D-6E8A-4147-A177-3AD203B41FA5}">
                      <a16:colId xmlns:a16="http://schemas.microsoft.com/office/drawing/2014/main" val="996812328"/>
                    </a:ext>
                  </a:extLst>
                </a:gridCol>
                <a:gridCol w="1274064">
                  <a:extLst>
                    <a:ext uri="{9D8B030D-6E8A-4147-A177-3AD203B41FA5}">
                      <a16:colId xmlns:a16="http://schemas.microsoft.com/office/drawing/2014/main" val="1946111412"/>
                    </a:ext>
                  </a:extLst>
                </a:gridCol>
                <a:gridCol w="1274064">
                  <a:extLst>
                    <a:ext uri="{9D8B030D-6E8A-4147-A177-3AD203B41FA5}">
                      <a16:colId xmlns:a16="http://schemas.microsoft.com/office/drawing/2014/main" val="112675917"/>
                    </a:ext>
                  </a:extLst>
                </a:gridCol>
                <a:gridCol w="1274064">
                  <a:extLst>
                    <a:ext uri="{9D8B030D-6E8A-4147-A177-3AD203B41FA5}">
                      <a16:colId xmlns:a16="http://schemas.microsoft.com/office/drawing/2014/main" val="2500398484"/>
                    </a:ext>
                  </a:extLst>
                </a:gridCol>
                <a:gridCol w="1274064">
                  <a:extLst>
                    <a:ext uri="{9D8B030D-6E8A-4147-A177-3AD203B41FA5}">
                      <a16:colId xmlns:a16="http://schemas.microsoft.com/office/drawing/2014/main" val="1784810295"/>
                    </a:ext>
                  </a:extLst>
                </a:gridCol>
                <a:gridCol w="1274064">
                  <a:extLst>
                    <a:ext uri="{9D8B030D-6E8A-4147-A177-3AD203B41FA5}">
                      <a16:colId xmlns:a16="http://schemas.microsoft.com/office/drawing/2014/main" val="1432678170"/>
                    </a:ext>
                  </a:extLst>
                </a:gridCol>
              </a:tblGrid>
              <a:tr h="402150">
                <a:tc>
                  <a:txBody>
                    <a:bodyPr/>
                    <a:lstStyle/>
                    <a:p>
                      <a:pPr algn="ctr" fontAlgn="b">
                        <a:defRPr sz="700">
                          <a:latin typeface="Nexa Bold (Headings)"/>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b="0" sz="700">
                          <a:solidFill>
                            <a:srgbClr val="575555"/>
                          </a:solidFill>
                          <a:latin typeface="Nexa Book"/>
                        </a:defRPr>
                      </a:pPr>
                      <a:r>
                        <a:t>$ 6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10.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b="0" sz="700">
                          <a:solidFill>
                            <a:srgbClr val="575555"/>
                          </a:solidFill>
                          <a:latin typeface="Nexa Book"/>
                        </a:defRPr>
                      </a:pPr>
                      <a:r>
                        <a:t>$ 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700">
                          <a:latin typeface="Nexa Bold (Headings)"/>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700">
                          <a:solidFill>
                            <a:srgbClr val="575555"/>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B2DFDC"/>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00A097"/>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700">
                          <a:solidFill>
                            <a:srgbClr val="FF808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852107130"/>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Edgewell | CVS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5.2%</a:t>
                      </a:r>
                      <a:r>
                        <a:rPr sz="700">
                          <a:solidFill>
                            <a:srgbClr val="575555"/>
                          </a:solidFill>
                          <a:latin typeface="Nexa Book"/>
                        </a:rPr>
                        <a:t> | </a:t>
                      </a:r>
                      <a:r>
                        <a:rPr sz="700">
                          <a:solidFill>
                            <a:srgbClr val="00A097"/>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6%</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5%</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23762470"/>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Edgewell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9.2%</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2%</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6963151"/>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Edgewell | Walmart Nm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1%</a:t>
                      </a:r>
                      <a:r>
                        <a:rPr sz="700">
                          <a:solidFill>
                            <a:srgbClr val="575555"/>
                          </a:solidFill>
                          <a:latin typeface="Nexa Book"/>
                        </a:rPr>
                        <a:t> | </a:t>
                      </a:r>
                      <a:r>
                        <a:rPr sz="700">
                          <a:solidFill>
                            <a:srgbClr val="C00000"/>
                          </a:solidFill>
                          <a:latin typeface="Nexa Book"/>
                        </a:rP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6%</a:t>
                      </a:r>
                      <a:r>
                        <a:rPr sz="700">
                          <a:solidFill>
                            <a:srgbClr val="575555"/>
                          </a:solidFill>
                          <a:latin typeface="Nexa Book"/>
                        </a:rPr>
                        <a:t> | </a:t>
                      </a:r>
                      <a:r>
                        <a:rPr sz="700">
                          <a:solidFill>
                            <a:srgbClr val="00A097"/>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70818825"/>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Edgewell | Walmart Sc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9.0%</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2%</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43605794"/>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Edgewell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610204172"/>
                    </a:ext>
                  </a:extLst>
                </a:gridCol>
                <a:gridCol w="3378708">
                  <a:extLst>
                    <a:ext uri="{9D8B030D-6E8A-4147-A177-3AD203B41FA5}">
                      <a16:colId xmlns:a16="http://schemas.microsoft.com/office/drawing/2014/main" val="4106856681"/>
                    </a:ext>
                  </a:extLst>
                </a:gridCol>
                <a:gridCol w="3378708">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3.0%</a:t>
                      </a:r>
                      <a:r>
                        <a:rPr sz="700">
                          <a:solidFill>
                            <a:srgbClr val="575555"/>
                          </a:solidFill>
                          <a:latin typeface="Nexa Book"/>
                        </a:rPr>
                        <a:t> | </a:t>
                      </a:r>
                      <a:r>
                        <a:rPr sz="700">
                          <a:solidFill>
                            <a:srgbClr val="C00000"/>
                          </a:solidFill>
                          <a:latin typeface="Nexa Book"/>
                        </a:rP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047104824"/>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National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9%</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62564789"/>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Amazon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610204172"/>
                    </a:ext>
                  </a:extLst>
                </a:gridCol>
                <a:gridCol w="3378708">
                  <a:extLst>
                    <a:ext uri="{9D8B030D-6E8A-4147-A177-3AD203B41FA5}">
                      <a16:colId xmlns:a16="http://schemas.microsoft.com/office/drawing/2014/main" val="4106856681"/>
                    </a:ext>
                  </a:extLst>
                </a:gridCol>
                <a:gridCol w="3378708">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5%</a:t>
                      </a:r>
                      <a:r>
                        <a:rPr sz="700">
                          <a:solidFill>
                            <a:srgbClr val="575555"/>
                          </a:solidFill>
                          <a:latin typeface="Nexa Book"/>
                        </a:rPr>
                        <a:t> | </a:t>
                      </a:r>
                      <a:r>
                        <a:rPr sz="700">
                          <a:solidFill>
                            <a:srgbClr val="00A097"/>
                          </a:solidFill>
                          <a:latin typeface="Nexa Book"/>
                        </a:rP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5582353"/>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CVS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7%</a:t>
                      </a:r>
                      <a:r>
                        <a:rPr sz="700">
                          <a:solidFill>
                            <a:srgbClr val="575555"/>
                          </a:solidFill>
                          <a:latin typeface="Nexa Book"/>
                        </a:rPr>
                        <a:t> | </a:t>
                      </a:r>
                      <a:r>
                        <a:rPr sz="700">
                          <a:solidFill>
                            <a:srgbClr val="00A097"/>
                          </a:solidFill>
                          <a:latin typeface="Nexa Book"/>
                        </a:rP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00A097"/>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79774648"/>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CVS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5%</a:t>
                      </a:r>
                      <a:r>
                        <a:rPr sz="700">
                          <a:solidFill>
                            <a:srgbClr val="575555"/>
                          </a:solidFill>
                          <a:latin typeface="Nexa Book"/>
                        </a:rPr>
                        <a:t> | </a:t>
                      </a:r>
                      <a:r>
                        <a:rPr sz="700">
                          <a:solidFill>
                            <a:srgbClr val="C00000"/>
                          </a:solidFill>
                          <a:latin typeface="Nexa Book"/>
                        </a:rP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9247577"/>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CVS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6%</a:t>
                      </a:r>
                      <a:r>
                        <a:rPr sz="700">
                          <a:solidFill>
                            <a:srgbClr val="575555"/>
                          </a:solidFill>
                          <a:latin typeface="Nexa Book"/>
                        </a:rPr>
                        <a:t> | </a:t>
                      </a:r>
                      <a:r>
                        <a:rPr sz="700">
                          <a:solidFill>
                            <a:srgbClr val="C00000"/>
                          </a:solidFill>
                          <a:latin typeface="Nexa Book"/>
                        </a:rP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140660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CVS Corp | Rem Blades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67439844"/>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4.1%</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6541302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70091895"/>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CVS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0%</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6%</a:t>
                      </a:r>
                      <a:r>
                        <a:rPr sz="700">
                          <a:solidFill>
                            <a:srgbClr val="575555"/>
                          </a:solidFill>
                          <a:latin typeface="Nexa Book"/>
                        </a:rPr>
                        <a:t> | </a:t>
                      </a:r>
                      <a:r>
                        <a:rPr sz="700">
                          <a:solidFill>
                            <a:srgbClr val="C00000"/>
                          </a:solidFill>
                          <a:latin typeface="Nexa Book"/>
                        </a:rP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580246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56259247"/>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Div1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C00000"/>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5%</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30518134"/>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Div1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6%</a:t>
                      </a:r>
                      <a:r>
                        <a:rPr sz="700">
                          <a:solidFill>
                            <a:srgbClr val="575555"/>
                          </a:solidFill>
                          <a:latin typeface="Nexa Book"/>
                        </a:rPr>
                        <a:t> | </a:t>
                      </a:r>
                      <a:r>
                        <a:rPr sz="700">
                          <a:solidFill>
                            <a:srgbClr val="C00000"/>
                          </a:solidFill>
                          <a:latin typeface="Nexa Book"/>
                        </a:rP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64287744"/>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Nm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7%</a:t>
                      </a:r>
                      <a:r>
                        <a:rPr sz="700">
                          <a:solidFill>
                            <a:srgbClr val="575555"/>
                          </a:solidFill>
                          <a:latin typeface="Nexa Book"/>
                        </a:rPr>
                        <a:t> | </a:t>
                      </a:r>
                      <a:r>
                        <a:rPr sz="700">
                          <a:solidFill>
                            <a:srgbClr val="C00000"/>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75267924"/>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Nm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17532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Manual Shave Women | Walmart Sc Corp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93.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8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14.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23576263"/>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Walmart Sc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2719112317"/>
                    </a:ext>
                  </a:extLst>
                </a:gridCol>
                <a:gridCol w="2252472">
                  <a:extLst>
                    <a:ext uri="{9D8B030D-6E8A-4147-A177-3AD203B41FA5}">
                      <a16:colId xmlns:a16="http://schemas.microsoft.com/office/drawing/2014/main" val="1610204172"/>
                    </a:ext>
                  </a:extLst>
                </a:gridCol>
                <a:gridCol w="2252472">
                  <a:extLst>
                    <a:ext uri="{9D8B030D-6E8A-4147-A177-3AD203B41FA5}">
                      <a16:colId xmlns:a16="http://schemas.microsoft.com/office/drawing/2014/main" val="4106856681"/>
                    </a:ext>
                  </a:extLst>
                </a:gridCol>
                <a:gridCol w="2252472">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9837710"/>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Manual Shave Women | Amazon 3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610204172"/>
                    </a:ext>
                  </a:extLst>
                </a:gridCol>
                <a:gridCol w="3378708">
                  <a:extLst>
                    <a:ext uri="{9D8B030D-6E8A-4147-A177-3AD203B41FA5}">
                      <a16:colId xmlns:a16="http://schemas.microsoft.com/office/drawing/2014/main" val="4106856681"/>
                    </a:ext>
                  </a:extLst>
                </a:gridCol>
                <a:gridCol w="3378708">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9%</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62348099"/>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Edgewell | CVS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6.3%</a:t>
                      </a:r>
                      <a:r>
                        <a:rPr sz="700">
                          <a:solidFill>
                            <a:srgbClr val="575555"/>
                          </a:solidFill>
                          <a:latin typeface="Nexa Book"/>
                        </a:rPr>
                        <a:t> | </a:t>
                      </a:r>
                      <a:r>
                        <a:rPr sz="700">
                          <a:solidFill>
                            <a:srgbClr val="00A097"/>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4.0%</a:t>
                      </a:r>
                      <a:r>
                        <a:rPr sz="700">
                          <a:solidFill>
                            <a:srgbClr val="575555"/>
                          </a:solidFill>
                          <a:latin typeface="Nexa Book"/>
                        </a:rPr>
                        <a:t> | </a:t>
                      </a:r>
                      <a:r>
                        <a:rPr sz="700">
                          <a:solidFill>
                            <a:srgbClr val="00A097"/>
                          </a:solidFill>
                          <a:latin typeface="Nexa Book"/>
                        </a:rPr>
                        <a:t>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6%</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5%</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92361486"/>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Edgewell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2%</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1%</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6%</a:t>
                      </a:r>
                      <a:r>
                        <a:rPr sz="700">
                          <a:solidFill>
                            <a:srgbClr val="575555"/>
                          </a:solidFill>
                          <a:latin typeface="Nexa Book"/>
                        </a:rPr>
                        <a:t> | </a:t>
                      </a:r>
                      <a:r>
                        <a:rPr sz="700">
                          <a:solidFill>
                            <a:srgbClr val="C00000"/>
                          </a:solidFill>
                          <a:latin typeface="Nexa Book"/>
                        </a:rP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7%</a:t>
                      </a:r>
                      <a:r>
                        <a:rPr sz="700">
                          <a:solidFill>
                            <a:srgbClr val="575555"/>
                          </a:solidFill>
                          <a:latin typeface="Nexa Book"/>
                        </a:rPr>
                        <a:t> | </a:t>
                      </a:r>
                      <a:r>
                        <a:rPr sz="700">
                          <a:solidFill>
                            <a:srgbClr val="C00000"/>
                          </a:solidFill>
                          <a:latin typeface="Nexa Book"/>
                        </a:rP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95233462"/>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Edgewell | Walmart Div1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7%</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9%</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0%</a:t>
                      </a:r>
                      <a:r>
                        <a:rPr sz="700">
                          <a:solidFill>
                            <a:srgbClr val="575555"/>
                          </a:solidFill>
                          <a:latin typeface="Nexa Book"/>
                        </a:rPr>
                        <a:t> | </a:t>
                      </a:r>
                      <a:r>
                        <a:rPr sz="700">
                          <a:solidFill>
                            <a:srgbClr val="C00000"/>
                          </a:solidFill>
                          <a:latin typeface="Nexa Book"/>
                        </a:rP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5%</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C00000"/>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82195417"/>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Edgewell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9.6%</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7%</a:t>
                      </a:r>
                      <a:r>
                        <a:rPr sz="700">
                          <a:solidFill>
                            <a:srgbClr val="575555"/>
                          </a:solidFill>
                          <a:latin typeface="Nexa Book"/>
                        </a:rPr>
                        <a:t> | </a:t>
                      </a:r>
                      <a:r>
                        <a:rPr sz="700">
                          <a:solidFill>
                            <a:srgbClr val="C00000"/>
                          </a:solidFill>
                          <a:latin typeface="Nexa Book"/>
                        </a:rPr>
                        <a:t>-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a:t>
                      </a:r>
                      <a:r>
                        <a:rPr sz="700">
                          <a:solidFill>
                            <a:srgbClr val="575555"/>
                          </a:solidFill>
                          <a:latin typeface="Nexa Book"/>
                        </a:rPr>
                        <a:t> | </a:t>
                      </a:r>
                      <a:r>
                        <a:rPr sz="700">
                          <a:solidFill>
                            <a:srgbClr val="00A097"/>
                          </a:solidFill>
                          <a:latin typeface="Nexa Book"/>
                        </a:rP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1941040"/>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National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4.9%</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78606931"/>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Amazon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8.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26734471"/>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CVS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7%</a:t>
                      </a:r>
                      <a:r>
                        <a:rPr sz="700">
                          <a:solidFill>
                            <a:srgbClr val="575555"/>
                          </a:solidFill>
                          <a:latin typeface="Nexa Book"/>
                        </a:rPr>
                        <a:t> | </a:t>
                      </a:r>
                      <a:r>
                        <a:rPr sz="700">
                          <a:solidFill>
                            <a:srgbClr val="00A097"/>
                          </a:solidFill>
                          <a:latin typeface="Nexa Book"/>
                        </a:rP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00A097"/>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18654552"/>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CVS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6%</a:t>
                      </a:r>
                      <a:r>
                        <a:rPr sz="700">
                          <a:solidFill>
                            <a:srgbClr val="575555"/>
                          </a:solidFill>
                          <a:latin typeface="Nexa Book"/>
                        </a:rPr>
                        <a:t> | </a:t>
                      </a:r>
                      <a:r>
                        <a:rPr sz="700">
                          <a:solidFill>
                            <a:srgbClr val="C00000"/>
                          </a:solidFill>
                          <a:latin typeface="Nexa Book"/>
                        </a:rP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35245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CVS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2%</a:t>
                      </a:r>
                      <a:r>
                        <a:rPr sz="700">
                          <a:solidFill>
                            <a:srgbClr val="575555"/>
                          </a:solidFill>
                          <a:latin typeface="Nexa Book"/>
                        </a:rPr>
                        <a:t> | </a:t>
                      </a:r>
                      <a:r>
                        <a:rPr sz="700">
                          <a:solidFill>
                            <a:srgbClr val="C00000"/>
                          </a:solidFill>
                          <a:latin typeface="Nexa Book"/>
                        </a:rP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0%</a:t>
                      </a:r>
                      <a:r>
                        <a:rPr sz="700">
                          <a:solidFill>
                            <a:srgbClr val="575555"/>
                          </a:solidFill>
                          <a:latin typeface="Nexa Book"/>
                        </a:rPr>
                        <a:t> | </a:t>
                      </a:r>
                      <a:r>
                        <a:rPr sz="700">
                          <a:solidFill>
                            <a:srgbClr val="C00000"/>
                          </a:solidFill>
                          <a:latin typeface="Nexa Book"/>
                        </a:rP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788623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Walmart | 5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6.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2.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32189079"/>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Walmart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00A097"/>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8%</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2.5%</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7%</a:t>
                      </a:r>
                      <a:r>
                        <a:rPr sz="700">
                          <a:solidFill>
                            <a:srgbClr val="575555"/>
                          </a:solidFill>
                          <a:latin typeface="Nexa Book"/>
                        </a:rPr>
                        <a:t> | </a:t>
                      </a:r>
                      <a:r>
                        <a:rPr sz="700">
                          <a:solidFill>
                            <a:srgbClr val="C00000"/>
                          </a:solidFill>
                          <a:latin typeface="Nexa Book"/>
                        </a:rP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31128701"/>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Walmart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88686049"/>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Amazon 1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C00000"/>
                          </a:solidFill>
                          <a:latin typeface="Nexa Book"/>
                        </a:rP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8%</a:t>
                      </a:r>
                      <a:r>
                        <a:rPr sz="700">
                          <a:solidFill>
                            <a:srgbClr val="575555"/>
                          </a:solidFill>
                          <a:latin typeface="Nexa Book"/>
                        </a:rPr>
                        <a:t> | </a:t>
                      </a:r>
                      <a:r>
                        <a:rPr sz="700">
                          <a:solidFill>
                            <a:srgbClr val="00A097"/>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8.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53920356"/>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CVS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7%</a:t>
                      </a:r>
                      <a:r>
                        <a:rPr sz="700">
                          <a:solidFill>
                            <a:srgbClr val="575555"/>
                          </a:solidFill>
                          <a:latin typeface="Nexa Book"/>
                        </a:rPr>
                        <a:t> | </a:t>
                      </a:r>
                      <a:r>
                        <a:rPr sz="700">
                          <a:solidFill>
                            <a:srgbClr val="00A097"/>
                          </a:solidFill>
                          <a:latin typeface="Nexa Book"/>
                        </a:rPr>
                        <a:t>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00A097"/>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55858611"/>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CVS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2%</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8%</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6%</a:t>
                      </a:r>
                      <a:r>
                        <a:rPr sz="700">
                          <a:solidFill>
                            <a:srgbClr val="575555"/>
                          </a:solidFill>
                          <a:latin typeface="Nexa Book"/>
                        </a:rPr>
                        <a:t> | </a:t>
                      </a:r>
                      <a:r>
                        <a:rPr sz="700">
                          <a:solidFill>
                            <a:srgbClr val="C00000"/>
                          </a:solidFill>
                          <a:latin typeface="Nexa Book"/>
                        </a:rP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1823940"/>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Walmart Div1 Cor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3%</a:t>
                      </a:r>
                      <a:r>
                        <a:rPr sz="700">
                          <a:solidFill>
                            <a:srgbClr val="575555"/>
                          </a:solidFill>
                          <a:latin typeface="Nexa Book"/>
                        </a:rPr>
                        <a:t> | </a:t>
                      </a:r>
                      <a:r>
                        <a:rPr sz="700">
                          <a:solidFill>
                            <a:srgbClr val="C00000"/>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2%</a:t>
                      </a:r>
                      <a:r>
                        <a:rPr sz="700">
                          <a:solidFill>
                            <a:srgbClr val="575555"/>
                          </a:solidFill>
                          <a:latin typeface="Nexa Book"/>
                        </a:rPr>
                        <a:t> | </a:t>
                      </a:r>
                      <a:r>
                        <a:rPr sz="700">
                          <a:solidFill>
                            <a:srgbClr val="C00000"/>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5%</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6.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89394153"/>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Walmart Nm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90597035"/>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Walmart Sc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184560546"/>
                    </a:ext>
                  </a:extLst>
                </a:gridCol>
                <a:gridCol w="1351483">
                  <a:extLst>
                    <a:ext uri="{9D8B030D-6E8A-4147-A177-3AD203B41FA5}">
                      <a16:colId xmlns:a16="http://schemas.microsoft.com/office/drawing/2014/main" val="712457864"/>
                    </a:ext>
                  </a:extLst>
                </a:gridCol>
                <a:gridCol w="1351483">
                  <a:extLst>
                    <a:ext uri="{9D8B030D-6E8A-4147-A177-3AD203B41FA5}">
                      <a16:colId xmlns:a16="http://schemas.microsoft.com/office/drawing/2014/main" val="2719112317"/>
                    </a:ext>
                  </a:extLst>
                </a:gridCol>
                <a:gridCol w="1351483">
                  <a:extLst>
                    <a:ext uri="{9D8B030D-6E8A-4147-A177-3AD203B41FA5}">
                      <a16:colId xmlns:a16="http://schemas.microsoft.com/office/drawing/2014/main" val="1610204172"/>
                    </a:ext>
                  </a:extLst>
                </a:gridCol>
                <a:gridCol w="1351483">
                  <a:extLst>
                    <a:ext uri="{9D8B030D-6E8A-4147-A177-3AD203B41FA5}">
                      <a16:colId xmlns:a16="http://schemas.microsoft.com/office/drawing/2014/main" val="4106856681"/>
                    </a:ext>
                  </a:extLst>
                </a:gridCol>
                <a:gridCol w="1351483">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7.0%</a:t>
                      </a:r>
                      <a:r>
                        <a:rPr sz="700">
                          <a:solidFill>
                            <a:srgbClr val="575555"/>
                          </a:solidFill>
                          <a:latin typeface="Nexa Book"/>
                        </a:rPr>
                        <a:t> | </a:t>
                      </a:r>
                      <a:r>
                        <a:rPr sz="700">
                          <a:solidFill>
                            <a:srgbClr val="00A097"/>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2%</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81568637"/>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Amazon 3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6%</a:t>
                      </a:r>
                      <a:r>
                        <a:rPr sz="700">
                          <a:solidFill>
                            <a:srgbClr val="575555"/>
                          </a:solidFill>
                          <a:latin typeface="Nexa Book"/>
                        </a:rPr>
                        <a:t> | </a:t>
                      </a:r>
                      <a:r>
                        <a:rPr sz="700">
                          <a:solidFill>
                            <a:srgbClr val="C00000"/>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51685347"/>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Manual Shave Women | Amazon 3P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712457864"/>
                    </a:ext>
                  </a:extLst>
                </a:gridCol>
                <a:gridCol w="1689354">
                  <a:extLst>
                    <a:ext uri="{9D8B030D-6E8A-4147-A177-3AD203B41FA5}">
                      <a16:colId xmlns:a16="http://schemas.microsoft.com/office/drawing/2014/main" val="2719112317"/>
                    </a:ext>
                  </a:extLst>
                </a:gridCol>
                <a:gridCol w="1689354">
                  <a:extLst>
                    <a:ext uri="{9D8B030D-6E8A-4147-A177-3AD203B41FA5}">
                      <a16:colId xmlns:a16="http://schemas.microsoft.com/office/drawing/2014/main" val="1610204172"/>
                    </a:ext>
                  </a:extLst>
                </a:gridCol>
                <a:gridCol w="1689354">
                  <a:extLst>
                    <a:ext uri="{9D8B030D-6E8A-4147-A177-3AD203B41FA5}">
                      <a16:colId xmlns:a16="http://schemas.microsoft.com/office/drawing/2014/main" val="4106856681"/>
                    </a:ext>
                  </a:extLst>
                </a:gridCol>
                <a:gridCol w="1689354">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5%</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6132354"/>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Edgewell | CVS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3.3%</a:t>
                      </a:r>
                      <a:r>
                        <a:rPr sz="700">
                          <a:solidFill>
                            <a:srgbClr val="575555"/>
                          </a:solidFill>
                          <a:latin typeface="Nexa Book"/>
                        </a:rPr>
                        <a:t> | </a:t>
                      </a:r>
                      <a:r>
                        <a:rPr sz="700">
                          <a:solidFill>
                            <a:srgbClr val="00A097"/>
                          </a:solidFill>
                          <a:latin typeface="Nexa Book"/>
                        </a:rP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1.5%</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4.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666218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mazon 1P | 1 Blad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91158112"/>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Edgewell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9.6%</a:t>
                      </a:r>
                      <a:r>
                        <a:rPr sz="700">
                          <a:solidFill>
                            <a:srgbClr val="575555"/>
                          </a:solidFill>
                          <a:latin typeface="Nexa Book"/>
                        </a:rPr>
                        <a:t> | </a:t>
                      </a:r>
                      <a:r>
                        <a:rPr sz="700">
                          <a:solidFill>
                            <a:srgbClr val="C00000"/>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7.9%</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1%</a:t>
                      </a:r>
                      <a:r>
                        <a:rPr sz="700">
                          <a:solidFill>
                            <a:srgbClr val="575555"/>
                          </a:solidFill>
                          <a:latin typeface="Nexa Book"/>
                        </a:rPr>
                        <a:t> | </a:t>
                      </a:r>
                      <a:r>
                        <a:rPr sz="700">
                          <a:solidFill>
                            <a:srgbClr val="C00000"/>
                          </a:solidFill>
                          <a:latin typeface="Nexa Book"/>
                        </a:rP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67988757"/>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Edgewell | Walmart Nm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3.0%</a:t>
                      </a:r>
                      <a:r>
                        <a:rPr sz="700">
                          <a:solidFill>
                            <a:srgbClr val="575555"/>
                          </a:solidFill>
                          <a:latin typeface="Nexa Book"/>
                        </a:rPr>
                        <a:t> | </a:t>
                      </a:r>
                      <a:r>
                        <a:rPr sz="700">
                          <a:solidFill>
                            <a:srgbClr val="C00000"/>
                          </a:solidFill>
                          <a:latin typeface="Nexa Book"/>
                        </a:rPr>
                        <a:t>-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4.9%</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2.6%</a:t>
                      </a:r>
                      <a:r>
                        <a:rPr sz="700">
                          <a:solidFill>
                            <a:srgbClr val="575555"/>
                          </a:solidFill>
                          <a:latin typeface="Nexa Book"/>
                        </a:rPr>
                        <a:t> | </a:t>
                      </a:r>
                      <a:r>
                        <a:rPr sz="700">
                          <a:solidFill>
                            <a:srgbClr val="00A097"/>
                          </a:solidFill>
                          <a:latin typeface="Nexa Book"/>
                        </a:rP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6.8%</a:t>
                      </a:r>
                      <a:r>
                        <a:rPr sz="700">
                          <a:solidFill>
                            <a:srgbClr val="575555"/>
                          </a:solidFill>
                          <a:latin typeface="Nexa Book"/>
                        </a:rPr>
                        <a:t> | </a:t>
                      </a:r>
                      <a:r>
                        <a:rPr sz="700">
                          <a:solidFill>
                            <a:srgbClr val="C00000"/>
                          </a:solidFill>
                          <a:latin typeface="Nexa Book"/>
                        </a:rP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3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75860571"/>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Edgewell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Edgewell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30.4%</a:t>
                      </a:r>
                      <a:r>
                        <a:rPr sz="700">
                          <a:solidFill>
                            <a:srgbClr val="575555"/>
                          </a:solidFill>
                          <a:latin typeface="Nexa Book"/>
                        </a:rPr>
                        <a:t> | </a:t>
                      </a:r>
                      <a:r>
                        <a:rPr sz="700">
                          <a:solidFill>
                            <a:srgbClr val="C00000"/>
                          </a:solidFill>
                          <a:latin typeface="Nexa Book"/>
                        </a:rP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1.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3%</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3%</a:t>
                      </a:r>
                      <a:r>
                        <a:rPr sz="700">
                          <a:solidFill>
                            <a:srgbClr val="575555"/>
                          </a:solidFill>
                          <a:latin typeface="Nexa Book"/>
                        </a:rPr>
                        <a:t> | </a:t>
                      </a:r>
                      <a:r>
                        <a:rPr sz="700">
                          <a:solidFill>
                            <a:srgbClr val="00A097"/>
                          </a:solidFill>
                          <a:latin typeface="Nexa Book"/>
                        </a:rP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9.2%</a:t>
                      </a:r>
                      <a:r>
                        <a:rPr sz="700">
                          <a:solidFill>
                            <a:srgbClr val="575555"/>
                          </a:solidFill>
                          <a:latin typeface="Nexa Book"/>
                        </a:rPr>
                        <a:t> | </a:t>
                      </a:r>
                      <a:r>
                        <a:rPr sz="700">
                          <a:solidFill>
                            <a:srgbClr val="C00000"/>
                          </a:solidFill>
                          <a:latin typeface="Nexa Book"/>
                        </a:rPr>
                        <a:t>-2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Edgewell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06098485"/>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National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2.4%</a:t>
                      </a:r>
                      <a:r>
                        <a:rPr sz="700">
                          <a:solidFill>
                            <a:srgbClr val="575555"/>
                          </a:solidFill>
                          <a:latin typeface="Nexa Book"/>
                        </a:rPr>
                        <a:t> | </a:t>
                      </a:r>
                      <a:r>
                        <a:rPr sz="700">
                          <a:solidFill>
                            <a:srgbClr val="00A097"/>
                          </a:solidFill>
                          <a:latin typeface="Nexa Book"/>
                        </a:rPr>
                        <a:t>3.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a:t>
                      </a:r>
                      <a:r>
                        <a:rPr sz="700">
                          <a:solidFill>
                            <a:srgbClr val="575555"/>
                          </a:solidFill>
                          <a:latin typeface="Nexa Book"/>
                        </a:rPr>
                        <a:t> | </a:t>
                      </a:r>
                      <a:r>
                        <a:rPr sz="700">
                          <a:solidFill>
                            <a:srgbClr val="00A097"/>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80182953"/>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National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3%</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64297653"/>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Amazon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7%</a:t>
                      </a:r>
                      <a:r>
                        <a:rPr sz="700">
                          <a:solidFill>
                            <a:srgbClr val="575555"/>
                          </a:solidFill>
                          <a:latin typeface="Nexa Book"/>
                        </a:rPr>
                        <a:t> | </a:t>
                      </a:r>
                      <a:r>
                        <a:rPr sz="700">
                          <a:solidFill>
                            <a:srgbClr val="00A097"/>
                          </a:solidFill>
                          <a:latin typeface="Nexa Book"/>
                        </a:rPr>
                        <a:t>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28346468"/>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CVS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9%</a:t>
                      </a:r>
                      <a:r>
                        <a:rPr sz="700">
                          <a:solidFill>
                            <a:srgbClr val="575555"/>
                          </a:solidFill>
                          <a:latin typeface="Nexa Book"/>
                        </a:rPr>
                        <a:t> | </a:t>
                      </a:r>
                      <a:r>
                        <a:rPr sz="700">
                          <a:solidFill>
                            <a:srgbClr val="00A097"/>
                          </a:solidFill>
                          <a:latin typeface="Nexa Book"/>
                        </a:rP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9%</a:t>
                      </a:r>
                      <a:r>
                        <a:rPr sz="700">
                          <a:solidFill>
                            <a:srgbClr val="575555"/>
                          </a:solidFill>
                          <a:latin typeface="Nexa Book"/>
                        </a:rPr>
                        <a:t> | </a:t>
                      </a:r>
                      <a:r>
                        <a:rPr sz="700">
                          <a:solidFill>
                            <a:srgbClr val="00A097"/>
                          </a:solidFill>
                          <a:latin typeface="Nexa Book"/>
                        </a:rPr>
                        <a:t>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76390457"/>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CVS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8.0%</a:t>
                      </a:r>
                      <a:r>
                        <a:rPr sz="700">
                          <a:solidFill>
                            <a:srgbClr val="575555"/>
                          </a:solidFill>
                          <a:latin typeface="Nexa Book"/>
                        </a:rPr>
                        <a:t> | </a:t>
                      </a:r>
                      <a:r>
                        <a:rPr sz="700">
                          <a:solidFill>
                            <a:srgbClr val="00A097"/>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36104427"/>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2%</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6.0%</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8.1%</a:t>
                      </a:r>
                      <a:r>
                        <a:rPr sz="700">
                          <a:solidFill>
                            <a:srgbClr val="575555"/>
                          </a:solidFill>
                          <a:latin typeface="Nexa Book"/>
                        </a:rPr>
                        <a:t> | </a:t>
                      </a:r>
                      <a:r>
                        <a:rPr sz="700">
                          <a:solidFill>
                            <a:srgbClr val="00A097"/>
                          </a:solidFill>
                          <a:latin typeface="Nexa Book"/>
                        </a:rPr>
                        <a:t>38.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68227416"/>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9%</a:t>
                      </a:r>
                      <a:r>
                        <a:rPr sz="700">
                          <a:solidFill>
                            <a:srgbClr val="575555"/>
                          </a:solidFill>
                          <a:latin typeface="Nexa Book"/>
                        </a:rPr>
                        <a:t> | </a:t>
                      </a:r>
                      <a:r>
                        <a:rPr sz="700">
                          <a:solidFill>
                            <a:srgbClr val="00A097"/>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7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5586409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Amazon 1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1.4%</a:t>
                      </a:r>
                      <a:r>
                        <a:rPr sz="700">
                          <a:solidFill>
                            <a:srgbClr val="575555"/>
                          </a:solidFill>
                          <a:latin typeface="Nexa Book"/>
                        </a:rPr>
                        <a:t> | </a:t>
                      </a:r>
                      <a:r>
                        <a:rPr sz="700">
                          <a:solidFill>
                            <a:srgbClr val="00A097"/>
                          </a:solidFill>
                          <a:latin typeface="Nexa Book"/>
                        </a:rPr>
                        <a:t>8.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43046995"/>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CVS | Hydro Silk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Hydro Silk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4%</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4%</a:t>
                      </a:r>
                      <a:r>
                        <a:rPr sz="700">
                          <a:solidFill>
                            <a:srgbClr val="575555"/>
                          </a:solidFill>
                          <a:latin typeface="Nexa Book"/>
                        </a:rPr>
                        <a:t> | </a:t>
                      </a:r>
                      <a:r>
                        <a:rPr sz="700">
                          <a:solidFill>
                            <a:srgbClr val="00A097"/>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5.6%</a:t>
                      </a:r>
                      <a:r>
                        <a:rPr sz="700">
                          <a:solidFill>
                            <a:srgbClr val="575555"/>
                          </a:solidFill>
                          <a:latin typeface="Nexa Book"/>
                        </a:rPr>
                        <a:t> | </a:t>
                      </a:r>
                      <a:r>
                        <a:rPr sz="700">
                          <a:solidFill>
                            <a:srgbClr val="C00000"/>
                          </a:solidFill>
                          <a:latin typeface="Nexa Book"/>
                        </a:rP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Hydro Silk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5.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2.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61552268"/>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CVS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8.0%</a:t>
                      </a:r>
                      <a:r>
                        <a:rPr sz="700">
                          <a:solidFill>
                            <a:srgbClr val="575555"/>
                          </a:solidFill>
                          <a:latin typeface="Nexa Book"/>
                        </a:rPr>
                        <a:t> | </a:t>
                      </a:r>
                      <a:r>
                        <a:rPr sz="700">
                          <a:solidFill>
                            <a:srgbClr val="00A097"/>
                          </a:solidFill>
                          <a:latin typeface="Nexa Book"/>
                        </a:rPr>
                        <a:t>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72272046"/>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Div1 Corp | Intuiti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Intuition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1%</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55.1%</a:t>
                      </a:r>
                      <a:r>
                        <a:rPr sz="700">
                          <a:solidFill>
                            <a:srgbClr val="575555"/>
                          </a:solidFill>
                          <a:latin typeface="Nexa Book"/>
                        </a:rPr>
                        <a:t> | </a:t>
                      </a:r>
                      <a:r>
                        <a:rPr sz="700">
                          <a:solidFill>
                            <a:srgbClr val="C00000"/>
                          </a:solidFill>
                          <a:latin typeface="Nexa Book"/>
                        </a:rP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9.6%</a:t>
                      </a:r>
                      <a:r>
                        <a:rPr sz="700">
                          <a:solidFill>
                            <a:srgbClr val="575555"/>
                          </a:solidFill>
                          <a:latin typeface="Nexa Book"/>
                        </a:rPr>
                        <a:t> | </a:t>
                      </a:r>
                      <a:r>
                        <a:rPr sz="700">
                          <a:solidFill>
                            <a:srgbClr val="00A097"/>
                          </a:solidFill>
                          <a:latin typeface="Nexa Book"/>
                        </a:rPr>
                        <a:t>79.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Intuition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0.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4.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3.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33811704"/>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Nm Corp | Skintimat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4"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705822644"/>
                    </a:ext>
                  </a:extLst>
                </a:gridCol>
                <a:gridCol w="1126236">
                  <a:extLst>
                    <a:ext uri="{9D8B030D-6E8A-4147-A177-3AD203B41FA5}">
                      <a16:colId xmlns:a16="http://schemas.microsoft.com/office/drawing/2014/main" val="184560546"/>
                    </a:ext>
                  </a:extLst>
                </a:gridCol>
                <a:gridCol w="1126236">
                  <a:extLst>
                    <a:ext uri="{9D8B030D-6E8A-4147-A177-3AD203B41FA5}">
                      <a16:colId xmlns:a16="http://schemas.microsoft.com/office/drawing/2014/main" val="712457864"/>
                    </a:ext>
                  </a:extLst>
                </a:gridCol>
                <a:gridCol w="1126236">
                  <a:extLst>
                    <a:ext uri="{9D8B030D-6E8A-4147-A177-3AD203B41FA5}">
                      <a16:colId xmlns:a16="http://schemas.microsoft.com/office/drawing/2014/main" val="2719112317"/>
                    </a:ext>
                  </a:extLst>
                </a:gridCol>
                <a:gridCol w="1126236">
                  <a:extLst>
                    <a:ext uri="{9D8B030D-6E8A-4147-A177-3AD203B41FA5}">
                      <a16:colId xmlns:a16="http://schemas.microsoft.com/office/drawing/2014/main" val="1610204172"/>
                    </a:ext>
                  </a:extLst>
                </a:gridCol>
                <a:gridCol w="1126236">
                  <a:extLst>
                    <a:ext uri="{9D8B030D-6E8A-4147-A177-3AD203B41FA5}">
                      <a16:colId xmlns:a16="http://schemas.microsoft.com/office/drawing/2014/main" val="4106856681"/>
                    </a:ext>
                  </a:extLst>
                </a:gridCol>
                <a:gridCol w="1126236">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2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Skintimat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8%</a:t>
                      </a:r>
                      <a:r>
                        <a:rPr sz="700">
                          <a:solidFill>
                            <a:srgbClr val="575555"/>
                          </a:solidFill>
                          <a:latin typeface="Nexa Book"/>
                        </a:rPr>
                        <a:t> | </a:t>
                      </a:r>
                      <a:r>
                        <a:rPr sz="700">
                          <a:solidFill>
                            <a:srgbClr val="00A097"/>
                          </a:solidFill>
                          <a:latin typeface="Nexa Book"/>
                        </a:rP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r>
                        <a:rPr sz="700">
                          <a:solidFill>
                            <a:srgbClr val="575555"/>
                          </a:solidFill>
                          <a:latin typeface="Nexa Book"/>
                        </a:rPr>
                        <a:t> | </a:t>
                      </a:r>
                      <a:r>
                        <a:rPr sz="700">
                          <a:solidFill>
                            <a:srgbClr val="C00000"/>
                          </a:solidFill>
                          <a:latin typeface="Nexa Book"/>
                        </a:rPr>
                        <a:t>-9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Skintimat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 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64651605"/>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ubSegment Value Sales &amp; Avg Price Per Kg | Manual Shave Women | Walmart Sc Corp | Billie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4423" cy="1285140"/>
        </p:xfrm>
        <a:graphic>
          <a:graphicData uri="http://schemas.openxmlformats.org/drawingml/2006/table">
            <a:tbl>
              <a:tblPr firstRow="1" bandRow="1">
                <a:tableStyleId>{5940675A-B579-460E-94D1-54222C63F5DA}</a:tableStyleId>
              </a:tblPr>
              <a:tblGrid>
                <a:gridCol w="1207008">
                  <a:extLst>
                    <a:ext uri="{9D8B030D-6E8A-4147-A177-3AD203B41FA5}">
                      <a16:colId xmlns:a16="http://schemas.microsoft.com/office/drawing/2014/main" val="3835393650"/>
                    </a:ext>
                  </a:extLst>
                </a:gridCol>
                <a:gridCol w="965345">
                  <a:extLst>
                    <a:ext uri="{9D8B030D-6E8A-4147-A177-3AD203B41FA5}">
                      <a16:colId xmlns:a16="http://schemas.microsoft.com/office/drawing/2014/main" val="3705822644"/>
                    </a:ext>
                  </a:extLst>
                </a:gridCol>
                <a:gridCol w="965345">
                  <a:extLst>
                    <a:ext uri="{9D8B030D-6E8A-4147-A177-3AD203B41FA5}">
                      <a16:colId xmlns:a16="http://schemas.microsoft.com/office/drawing/2014/main" val="184560546"/>
                    </a:ext>
                  </a:extLst>
                </a:gridCol>
                <a:gridCol w="965345">
                  <a:extLst>
                    <a:ext uri="{9D8B030D-6E8A-4147-A177-3AD203B41FA5}">
                      <a16:colId xmlns:a16="http://schemas.microsoft.com/office/drawing/2014/main" val="712457864"/>
                    </a:ext>
                  </a:extLst>
                </a:gridCol>
                <a:gridCol w="965345">
                  <a:extLst>
                    <a:ext uri="{9D8B030D-6E8A-4147-A177-3AD203B41FA5}">
                      <a16:colId xmlns:a16="http://schemas.microsoft.com/office/drawing/2014/main" val="2719112317"/>
                    </a:ext>
                  </a:extLst>
                </a:gridCol>
                <a:gridCol w="965345">
                  <a:extLst>
                    <a:ext uri="{9D8B030D-6E8A-4147-A177-3AD203B41FA5}">
                      <a16:colId xmlns:a16="http://schemas.microsoft.com/office/drawing/2014/main" val="1610204172"/>
                    </a:ext>
                  </a:extLst>
                </a:gridCol>
                <a:gridCol w="965345">
                  <a:extLst>
                    <a:ext uri="{9D8B030D-6E8A-4147-A177-3AD203B41FA5}">
                      <a16:colId xmlns:a16="http://schemas.microsoft.com/office/drawing/2014/main" val="4106856681"/>
                    </a:ext>
                  </a:extLst>
                </a:gridCol>
                <a:gridCol w="965345">
                  <a:extLst>
                    <a:ext uri="{9D8B030D-6E8A-4147-A177-3AD203B41FA5}">
                      <a16:colId xmlns:a16="http://schemas.microsoft.com/office/drawing/2014/main" val="4292680004"/>
                    </a:ext>
                  </a:extLst>
                </a:gridCol>
              </a:tblGrid>
              <a:tr h="321285">
                <a:tc>
                  <a:txBody>
                    <a:bodyPr/>
                    <a:lstStyle/>
                    <a:p>
                      <a:pPr>
                        <a:defRPr sz="700">
                          <a:solidFill>
                            <a:srgbClr val="FFFFFF"/>
                          </a:solidFill>
                          <a:latin typeface="Nexa Bold (Headings)"/>
                        </a:defRPr>
                      </a:pPr>
                      <a:r>
                        <a:t>Sub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4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321285">
                <a:tc>
                  <a:txBody>
                    <a:bodyPr/>
                    <a:lstStyle/>
                    <a:p>
                      <a:pPr>
                        <a:defRPr sz="700">
                          <a:solidFill>
                            <a:srgbClr val="FFFFFF"/>
                          </a:solidFill>
                          <a:latin typeface="Nexa Bold (Headings)"/>
                        </a:defRPr>
                      </a:pPr>
                      <a:r>
                        <a:t>Sub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321285">
                <a:tc>
                  <a:txBody>
                    <a:bodyPr/>
                    <a:lstStyle/>
                    <a:p>
                      <a:pPr>
                        <a:defRPr sz="700">
                          <a:solidFill>
                            <a:srgbClr val="FFFFFF"/>
                          </a:solidFill>
                          <a:latin typeface="Nexa Bold (Headings)"/>
                        </a:defRPr>
                      </a:pPr>
                      <a:r>
                        <a:t>Billie Share</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1%</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321285">
                <a:tc>
                  <a:txBody>
                    <a:bodyPr/>
                    <a:lstStyle/>
                    <a:p>
                      <a:pPr>
                        <a:defRPr sz="700">
                          <a:solidFill>
                            <a:srgbClr val="FFFFFF"/>
                          </a:solidFill>
                          <a:latin typeface="Nexa Bold (Headings)"/>
                        </a:defRPr>
                      </a:pPr>
                      <a:r>
                        <a:t>Billie Avg Price/K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 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02243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Raphaella ASHRAF</cp:lastModifiedBy>
  <cp:revision>5</cp:revision>
  <dcterms:created xsi:type="dcterms:W3CDTF">2024-07-05T07:54:38Z</dcterms:created>
  <dcterms:modified xsi:type="dcterms:W3CDTF">2024-12-12T13:48:51Z</dcterms:modified>
</cp:coreProperties>
</file>